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59" r:id="rId5"/>
    <p:sldMasterId id="2147483775" r:id="rId6"/>
    <p:sldMasterId id="2147483805" r:id="rId7"/>
  </p:sldMasterIdLst>
  <p:notesMasterIdLst>
    <p:notesMasterId r:id="rId20"/>
  </p:notesMasterIdLst>
  <p:handoutMasterIdLst>
    <p:handoutMasterId r:id="rId21"/>
  </p:handoutMasterIdLst>
  <p:sldIdLst>
    <p:sldId id="799" r:id="rId8"/>
    <p:sldId id="800" r:id="rId9"/>
    <p:sldId id="801" r:id="rId10"/>
    <p:sldId id="802" r:id="rId11"/>
    <p:sldId id="803" r:id="rId12"/>
    <p:sldId id="804" r:id="rId13"/>
    <p:sldId id="805" r:id="rId14"/>
    <p:sldId id="806" r:id="rId15"/>
    <p:sldId id="807" r:id="rId16"/>
    <p:sldId id="808" r:id="rId17"/>
    <p:sldId id="809" r:id="rId18"/>
    <p:sldId id="810" r:id="rId1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9965" autoAdjust="0"/>
    <p:restoredTop sz="94660"/>
  </p:normalViewPr>
  <p:slideViewPr>
    <p:cSldViewPr snapToGrid="0">
      <p:cViewPr varScale="1">
        <p:scale>
          <a:sx n="117" d="100"/>
          <a:sy n="117" d="100"/>
        </p:scale>
        <p:origin x="688" y="48"/>
      </p:cViewPr>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8" d="100"/>
          <a:sy n="88" d="100"/>
        </p:scale>
        <p:origin x="387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cked"/>
        <c:varyColors val="0"/>
        <c:ser>
          <c:idx val="0"/>
          <c:order val="0"/>
          <c:tx>
            <c:strRef>
              <c:f>'Ark1'!$N$23</c:f>
              <c:strCache>
                <c:ptCount val="1"/>
                <c:pt idx="0">
                  <c:v>Waste</c:v>
                </c:pt>
              </c:strCache>
            </c:strRef>
          </c:tx>
          <c:spPr>
            <a:solidFill>
              <a:schemeClr val="accent1"/>
            </a:solidFill>
            <a:ln>
              <a:noFill/>
            </a:ln>
            <a:effectLst/>
          </c:spPr>
          <c:cat>
            <c:strRef>
              <c:f>'Ark1'!$M$24:$M$35</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Ark1'!$N$24:$N$35</c:f>
              <c:numCache>
                <c:formatCode>_ * #,##0_ ;_ * \-#,##0_ ;_ * "-"??_ ;_ @_ </c:formatCode>
                <c:ptCount val="12"/>
                <c:pt idx="0">
                  <c:v>85.674384714305972</c:v>
                </c:pt>
                <c:pt idx="1">
                  <c:v>80.472735173291937</c:v>
                </c:pt>
                <c:pt idx="2">
                  <c:v>85.569573862061517</c:v>
                </c:pt>
                <c:pt idx="3">
                  <c:v>85.562816027889554</c:v>
                </c:pt>
                <c:pt idx="4">
                  <c:v>64.630252462138102</c:v>
                </c:pt>
                <c:pt idx="5">
                  <c:v>40.723179769903361</c:v>
                </c:pt>
                <c:pt idx="6">
                  <c:v>37.566673870484024</c:v>
                </c:pt>
                <c:pt idx="7">
                  <c:v>44.082044428141018</c:v>
                </c:pt>
                <c:pt idx="8">
                  <c:v>47.740685973265791</c:v>
                </c:pt>
                <c:pt idx="9">
                  <c:v>89.363396437039313</c:v>
                </c:pt>
                <c:pt idx="10">
                  <c:v>96.49891595889919</c:v>
                </c:pt>
                <c:pt idx="11">
                  <c:v>98.774733867417709</c:v>
                </c:pt>
              </c:numCache>
            </c:numRef>
          </c:val>
          <c:extLst>
            <c:ext xmlns:c16="http://schemas.microsoft.com/office/drawing/2014/chart" uri="{C3380CC4-5D6E-409C-BE32-E72D297353CC}">
              <c16:uniqueId val="{00000000-AE68-407D-86EA-E4E126C19BBB}"/>
            </c:ext>
          </c:extLst>
        </c:ser>
        <c:ser>
          <c:idx val="1"/>
          <c:order val="1"/>
          <c:tx>
            <c:strRef>
              <c:f>'Ark1'!$O$23</c:f>
              <c:strCache>
                <c:ptCount val="1"/>
                <c:pt idx="0">
                  <c:v>Ind. Waste</c:v>
                </c:pt>
              </c:strCache>
            </c:strRef>
          </c:tx>
          <c:spPr>
            <a:solidFill>
              <a:schemeClr val="accent2"/>
            </a:solidFill>
            <a:ln>
              <a:noFill/>
            </a:ln>
            <a:effectLst/>
          </c:spPr>
          <c:cat>
            <c:strRef>
              <c:f>'Ark1'!$M$24:$M$35</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Ark1'!$O$24:$O$35</c:f>
              <c:numCache>
                <c:formatCode>_ * #,##0_ ;_ * \-#,##0_ ;_ * "-"??_ ;_ @_ </c:formatCode>
                <c:ptCount val="12"/>
                <c:pt idx="0">
                  <c:v>19.842451849731109</c:v>
                </c:pt>
                <c:pt idx="1">
                  <c:v>19.747796060527822</c:v>
                </c:pt>
                <c:pt idx="2">
                  <c:v>15.5283351580555</c:v>
                </c:pt>
                <c:pt idx="3">
                  <c:v>14.65773623738585</c:v>
                </c:pt>
                <c:pt idx="4">
                  <c:v>4.4088050557844696</c:v>
                </c:pt>
                <c:pt idx="5">
                  <c:v>0</c:v>
                </c:pt>
                <c:pt idx="6">
                  <c:v>0</c:v>
                </c:pt>
                <c:pt idx="7">
                  <c:v>0</c:v>
                </c:pt>
                <c:pt idx="8">
                  <c:v>1.6836351681719346</c:v>
                </c:pt>
                <c:pt idx="9">
                  <c:v>12.040380907972246</c:v>
                </c:pt>
                <c:pt idx="10">
                  <c:v>19.549635577608754</c:v>
                </c:pt>
                <c:pt idx="11">
                  <c:v>19.187119886655342</c:v>
                </c:pt>
              </c:numCache>
            </c:numRef>
          </c:val>
          <c:extLst>
            <c:ext xmlns:c16="http://schemas.microsoft.com/office/drawing/2014/chart" uri="{C3380CC4-5D6E-409C-BE32-E72D297353CC}">
              <c16:uniqueId val="{00000001-AE68-407D-86EA-E4E126C19BBB}"/>
            </c:ext>
          </c:extLst>
        </c:ser>
        <c:ser>
          <c:idx val="2"/>
          <c:order val="2"/>
          <c:tx>
            <c:strRef>
              <c:f>'Ark1'!$P$23</c:f>
              <c:strCache>
                <c:ptCount val="1"/>
                <c:pt idx="0">
                  <c:v>Heat pump</c:v>
                </c:pt>
              </c:strCache>
            </c:strRef>
          </c:tx>
          <c:spPr>
            <a:solidFill>
              <a:schemeClr val="accent3"/>
            </a:solidFill>
            <a:ln>
              <a:noFill/>
            </a:ln>
            <a:effectLst/>
          </c:spPr>
          <c:cat>
            <c:strRef>
              <c:f>'Ark1'!$M$24:$M$35</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Ark1'!$P$24:$P$35</c:f>
              <c:numCache>
                <c:formatCode>_ * #,##0_ ;_ * \-#,##0_ ;_ * "-"??_ ;_ @_ </c:formatCode>
                <c:ptCount val="12"/>
                <c:pt idx="0">
                  <c:v>18.274709966631235</c:v>
                </c:pt>
                <c:pt idx="1">
                  <c:v>18.378010492323195</c:v>
                </c:pt>
                <c:pt idx="2">
                  <c:v>16.654580336363708</c:v>
                </c:pt>
                <c:pt idx="3">
                  <c:v>13.659834238198826</c:v>
                </c:pt>
                <c:pt idx="4">
                  <c:v>5.5217154416051244</c:v>
                </c:pt>
                <c:pt idx="5">
                  <c:v>0.9268355194720278</c:v>
                </c:pt>
                <c:pt idx="6">
                  <c:v>7.4560393025938033E-4</c:v>
                </c:pt>
                <c:pt idx="7">
                  <c:v>1.6839225607921209E-3</c:v>
                </c:pt>
                <c:pt idx="8">
                  <c:v>0.33810144785972224</c:v>
                </c:pt>
                <c:pt idx="9">
                  <c:v>18.83118810433519</c:v>
                </c:pt>
                <c:pt idx="10">
                  <c:v>21.057598695114223</c:v>
                </c:pt>
                <c:pt idx="11">
                  <c:v>21.692315728919425</c:v>
                </c:pt>
              </c:numCache>
            </c:numRef>
          </c:val>
          <c:extLst>
            <c:ext xmlns:c16="http://schemas.microsoft.com/office/drawing/2014/chart" uri="{C3380CC4-5D6E-409C-BE32-E72D297353CC}">
              <c16:uniqueId val="{00000002-AE68-407D-86EA-E4E126C19BBB}"/>
            </c:ext>
          </c:extLst>
        </c:ser>
        <c:ser>
          <c:idx val="3"/>
          <c:order val="3"/>
          <c:tx>
            <c:strRef>
              <c:f>'Ark1'!$Q$23</c:f>
              <c:strCache>
                <c:ptCount val="1"/>
                <c:pt idx="0">
                  <c:v>Electricity</c:v>
                </c:pt>
              </c:strCache>
            </c:strRef>
          </c:tx>
          <c:spPr>
            <a:solidFill>
              <a:schemeClr val="accent4"/>
            </a:solidFill>
            <a:ln>
              <a:noFill/>
            </a:ln>
            <a:effectLst/>
          </c:spPr>
          <c:cat>
            <c:strRef>
              <c:f>'Ark1'!$M$24:$M$35</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Ark1'!$Q$24:$Q$35</c:f>
              <c:numCache>
                <c:formatCode>_ * #,##0_ ;_ * \-#,##0_ ;_ * "-"??_ ;_ @_ </c:formatCode>
                <c:ptCount val="12"/>
                <c:pt idx="0">
                  <c:v>128.00958724212268</c:v>
                </c:pt>
                <c:pt idx="1">
                  <c:v>98.091341583144313</c:v>
                </c:pt>
                <c:pt idx="2">
                  <c:v>65.701992575986097</c:v>
                </c:pt>
                <c:pt idx="3">
                  <c:v>20.342598181054356</c:v>
                </c:pt>
                <c:pt idx="4">
                  <c:v>3.8566639229246915</c:v>
                </c:pt>
                <c:pt idx="5">
                  <c:v>1.5193985529628358</c:v>
                </c:pt>
                <c:pt idx="6">
                  <c:v>0.84785191246580482</c:v>
                </c:pt>
                <c:pt idx="7">
                  <c:v>1.3034850835336429</c:v>
                </c:pt>
                <c:pt idx="8">
                  <c:v>1.0189934838974997</c:v>
                </c:pt>
                <c:pt idx="9">
                  <c:v>26.256962431544842</c:v>
                </c:pt>
                <c:pt idx="10">
                  <c:v>60.083789444395485</c:v>
                </c:pt>
                <c:pt idx="11">
                  <c:v>69.844624364691612</c:v>
                </c:pt>
              </c:numCache>
            </c:numRef>
          </c:val>
          <c:extLst>
            <c:ext xmlns:c16="http://schemas.microsoft.com/office/drawing/2014/chart" uri="{C3380CC4-5D6E-409C-BE32-E72D297353CC}">
              <c16:uniqueId val="{00000003-AE68-407D-86EA-E4E126C19BBB}"/>
            </c:ext>
          </c:extLst>
        </c:ser>
        <c:ser>
          <c:idx val="4"/>
          <c:order val="4"/>
          <c:tx>
            <c:strRef>
              <c:f>'Ark1'!$R$23</c:f>
              <c:strCache>
                <c:ptCount val="1"/>
                <c:pt idx="0">
                  <c:v>Pellets</c:v>
                </c:pt>
              </c:strCache>
            </c:strRef>
          </c:tx>
          <c:spPr>
            <a:solidFill>
              <a:schemeClr val="accent5"/>
            </a:solidFill>
            <a:ln>
              <a:noFill/>
            </a:ln>
            <a:effectLst/>
          </c:spPr>
          <c:cat>
            <c:strRef>
              <c:f>'Ark1'!$M$24:$M$35</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Ark1'!$R$24:$R$35</c:f>
              <c:numCache>
                <c:formatCode>_ * #,##0_ ;_ * \-#,##0_ ;_ * "-"??_ ;_ @_ </c:formatCode>
                <c:ptCount val="12"/>
                <c:pt idx="0">
                  <c:v>25.686514173513018</c:v>
                </c:pt>
                <c:pt idx="1">
                  <c:v>5.5822849449910468</c:v>
                </c:pt>
                <c:pt idx="2">
                  <c:v>1.4095562186554202</c:v>
                </c:pt>
                <c:pt idx="3">
                  <c:v>4.2024653845555191</c:v>
                </c:pt>
                <c:pt idx="4">
                  <c:v>0</c:v>
                </c:pt>
                <c:pt idx="5">
                  <c:v>0</c:v>
                </c:pt>
                <c:pt idx="6">
                  <c:v>0</c:v>
                </c:pt>
                <c:pt idx="7">
                  <c:v>0</c:v>
                </c:pt>
                <c:pt idx="8">
                  <c:v>1.7731206798981027E-2</c:v>
                </c:pt>
                <c:pt idx="9">
                  <c:v>0.37973861666323283</c:v>
                </c:pt>
                <c:pt idx="10">
                  <c:v>13.842345784483177</c:v>
                </c:pt>
                <c:pt idx="11">
                  <c:v>10.266358532310157</c:v>
                </c:pt>
              </c:numCache>
            </c:numRef>
          </c:val>
          <c:extLst>
            <c:ext xmlns:c16="http://schemas.microsoft.com/office/drawing/2014/chart" uri="{C3380CC4-5D6E-409C-BE32-E72D297353CC}">
              <c16:uniqueId val="{00000004-AE68-407D-86EA-E4E126C19BBB}"/>
            </c:ext>
          </c:extLst>
        </c:ser>
        <c:ser>
          <c:idx val="5"/>
          <c:order val="5"/>
          <c:tx>
            <c:strRef>
              <c:f>'Ark1'!$S$23</c:f>
              <c:strCache>
                <c:ptCount val="1"/>
                <c:pt idx="0">
                  <c:v>LNG</c:v>
                </c:pt>
              </c:strCache>
            </c:strRef>
          </c:tx>
          <c:spPr>
            <a:solidFill>
              <a:schemeClr val="accent6"/>
            </a:solidFill>
            <a:ln>
              <a:noFill/>
            </a:ln>
            <a:effectLst/>
          </c:spPr>
          <c:cat>
            <c:strRef>
              <c:f>'Ark1'!$M$24:$M$35</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Ark1'!$S$24:$S$35</c:f>
              <c:numCache>
                <c:formatCode>_ * #,##0_ ;_ * \-#,##0_ ;_ * "-"??_ ;_ @_ </c:formatCode>
                <c:ptCount val="12"/>
                <c:pt idx="0">
                  <c:v>6.2678276398442501</c:v>
                </c:pt>
                <c:pt idx="1">
                  <c:v>1.1882261971913817</c:v>
                </c:pt>
                <c:pt idx="2">
                  <c:v>1.217665955083753</c:v>
                </c:pt>
                <c:pt idx="3">
                  <c:v>0.21059909467857285</c:v>
                </c:pt>
                <c:pt idx="4">
                  <c:v>0.1078160728094455</c:v>
                </c:pt>
                <c:pt idx="5">
                  <c:v>5.9590695329585905E-3</c:v>
                </c:pt>
                <c:pt idx="6">
                  <c:v>0</c:v>
                </c:pt>
                <c:pt idx="7">
                  <c:v>0</c:v>
                </c:pt>
                <c:pt idx="8">
                  <c:v>1.2949665768730089E-2</c:v>
                </c:pt>
                <c:pt idx="9">
                  <c:v>0.17833581166330029</c:v>
                </c:pt>
                <c:pt idx="10">
                  <c:v>3.337114693827274</c:v>
                </c:pt>
                <c:pt idx="11">
                  <c:v>2.0547402655329194</c:v>
                </c:pt>
              </c:numCache>
            </c:numRef>
          </c:val>
          <c:extLst>
            <c:ext xmlns:c16="http://schemas.microsoft.com/office/drawing/2014/chart" uri="{C3380CC4-5D6E-409C-BE32-E72D297353CC}">
              <c16:uniqueId val="{00000005-AE68-407D-86EA-E4E126C19BBB}"/>
            </c:ext>
          </c:extLst>
        </c:ser>
        <c:ser>
          <c:idx val="6"/>
          <c:order val="6"/>
          <c:tx>
            <c:strRef>
              <c:f>'Ark1'!$T$23</c:f>
              <c:strCache>
                <c:ptCount val="1"/>
                <c:pt idx="0">
                  <c:v>Bio oil</c:v>
                </c:pt>
              </c:strCache>
            </c:strRef>
          </c:tx>
          <c:spPr>
            <a:solidFill>
              <a:schemeClr val="accent1">
                <a:lumMod val="60000"/>
              </a:schemeClr>
            </a:solidFill>
            <a:ln>
              <a:noFill/>
            </a:ln>
            <a:effectLst/>
          </c:spPr>
          <c:cat>
            <c:strRef>
              <c:f>'Ark1'!$M$24:$M$35</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Ark1'!$T$24:$T$35</c:f>
              <c:numCache>
                <c:formatCode>_ * #,##0_ ;_ * \-#,##0_ ;_ * "-"??_ ;_ @_ </c:formatCode>
                <c:ptCount val="12"/>
                <c:pt idx="0">
                  <c:v>16.651221334152162</c:v>
                </c:pt>
                <c:pt idx="1">
                  <c:v>1.3619337299827312</c:v>
                </c:pt>
                <c:pt idx="2">
                  <c:v>1.2667028980561112</c:v>
                </c:pt>
                <c:pt idx="3">
                  <c:v>0.78490353728951323</c:v>
                </c:pt>
                <c:pt idx="4">
                  <c:v>0</c:v>
                </c:pt>
                <c:pt idx="5">
                  <c:v>0</c:v>
                </c:pt>
                <c:pt idx="6">
                  <c:v>0</c:v>
                </c:pt>
                <c:pt idx="7">
                  <c:v>0</c:v>
                </c:pt>
                <c:pt idx="8">
                  <c:v>0</c:v>
                </c:pt>
                <c:pt idx="9">
                  <c:v>1.929269367864302E-2</c:v>
                </c:pt>
                <c:pt idx="10">
                  <c:v>1.393154110579653</c:v>
                </c:pt>
                <c:pt idx="11">
                  <c:v>0.10887379421551202</c:v>
                </c:pt>
              </c:numCache>
            </c:numRef>
          </c:val>
          <c:extLst>
            <c:ext xmlns:c16="http://schemas.microsoft.com/office/drawing/2014/chart" uri="{C3380CC4-5D6E-409C-BE32-E72D297353CC}">
              <c16:uniqueId val="{00000006-AE68-407D-86EA-E4E126C19BBB}"/>
            </c:ext>
          </c:extLst>
        </c:ser>
        <c:ser>
          <c:idx val="7"/>
          <c:order val="7"/>
          <c:tx>
            <c:strRef>
              <c:f>'Ark1'!$U$23</c:f>
              <c:strCache>
                <c:ptCount val="1"/>
                <c:pt idx="0">
                  <c:v>Bio diesel</c:v>
                </c:pt>
              </c:strCache>
            </c:strRef>
          </c:tx>
          <c:spPr>
            <a:solidFill>
              <a:schemeClr val="accent2">
                <a:lumMod val="60000"/>
              </a:schemeClr>
            </a:solidFill>
            <a:ln>
              <a:noFill/>
            </a:ln>
            <a:effectLst/>
          </c:spPr>
          <c:cat>
            <c:strRef>
              <c:f>'Ark1'!$M$24:$M$35</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Ark1'!$U$24:$U$35</c:f>
              <c:numCache>
                <c:formatCode>_ * #,##0_ ;_ * \-#,##0_ ;_ * "-"??_ ;_ @_ </c:formatCode>
                <c:ptCount val="12"/>
                <c:pt idx="0">
                  <c:v>7.2491609845828329</c:v>
                </c:pt>
                <c:pt idx="1">
                  <c:v>0.42231829194125464</c:v>
                </c:pt>
                <c:pt idx="2">
                  <c:v>2.3430942078796899E-2</c:v>
                </c:pt>
                <c:pt idx="3">
                  <c:v>0</c:v>
                </c:pt>
                <c:pt idx="4">
                  <c:v>0</c:v>
                </c:pt>
                <c:pt idx="5">
                  <c:v>0</c:v>
                </c:pt>
                <c:pt idx="6">
                  <c:v>0</c:v>
                </c:pt>
                <c:pt idx="7">
                  <c:v>0</c:v>
                </c:pt>
                <c:pt idx="8">
                  <c:v>0</c:v>
                </c:pt>
                <c:pt idx="9">
                  <c:v>5.8888746315528602E-2</c:v>
                </c:pt>
                <c:pt idx="10">
                  <c:v>0.19958429980337289</c:v>
                </c:pt>
                <c:pt idx="11">
                  <c:v>2.2312604714627101E-3</c:v>
                </c:pt>
              </c:numCache>
            </c:numRef>
          </c:val>
          <c:extLst>
            <c:ext xmlns:c16="http://schemas.microsoft.com/office/drawing/2014/chart" uri="{C3380CC4-5D6E-409C-BE32-E72D297353CC}">
              <c16:uniqueId val="{00000007-AE68-407D-86EA-E4E126C19BBB}"/>
            </c:ext>
          </c:extLst>
        </c:ser>
        <c:ser>
          <c:idx val="8"/>
          <c:order val="8"/>
          <c:tx>
            <c:strRef>
              <c:f>'Ark1'!$V$23</c:f>
              <c:strCache>
                <c:ptCount val="1"/>
                <c:pt idx="0">
                  <c:v>Fossile oil</c:v>
                </c:pt>
              </c:strCache>
            </c:strRef>
          </c:tx>
          <c:spPr>
            <a:solidFill>
              <a:schemeClr val="accent3">
                <a:lumMod val="60000"/>
              </a:schemeClr>
            </a:solidFill>
            <a:ln>
              <a:noFill/>
            </a:ln>
            <a:effectLst/>
          </c:spPr>
          <c:cat>
            <c:strRef>
              <c:f>'Ark1'!$M$24:$M$35</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Ark1'!$V$24:$V$35</c:f>
              <c:numCache>
                <c:formatCode>_ * #,##0_ ;_ * \-#,##0_ ;_ * "-"??_ ;_ @_ </c:formatCode>
                <c:ptCount val="12"/>
                <c:pt idx="0">
                  <c:v>0.50540292634366024</c:v>
                </c:pt>
                <c:pt idx="1">
                  <c:v>0.22454819921279442</c:v>
                </c:pt>
                <c:pt idx="2">
                  <c:v>0</c:v>
                </c:pt>
                <c:pt idx="3">
                  <c:v>1.783523408030237E-3</c:v>
                </c:pt>
                <c:pt idx="4">
                  <c:v>0</c:v>
                </c:pt>
                <c:pt idx="5">
                  <c:v>0</c:v>
                </c:pt>
                <c:pt idx="6">
                  <c:v>0</c:v>
                </c:pt>
                <c:pt idx="7">
                  <c:v>0</c:v>
                </c:pt>
                <c:pt idx="8">
                  <c:v>0</c:v>
                </c:pt>
                <c:pt idx="9">
                  <c:v>1.6641097161103652E-3</c:v>
                </c:pt>
                <c:pt idx="10">
                  <c:v>2.943799019070609E-2</c:v>
                </c:pt>
                <c:pt idx="11">
                  <c:v>7.3208965442650136E-3</c:v>
                </c:pt>
              </c:numCache>
            </c:numRef>
          </c:val>
          <c:extLst>
            <c:ext xmlns:c16="http://schemas.microsoft.com/office/drawing/2014/chart" uri="{C3380CC4-5D6E-409C-BE32-E72D297353CC}">
              <c16:uniqueId val="{00000008-AE68-407D-86EA-E4E126C19BBB}"/>
            </c:ext>
          </c:extLst>
        </c:ser>
        <c:dLbls>
          <c:showLegendKey val="0"/>
          <c:showVal val="0"/>
          <c:showCatName val="0"/>
          <c:showSerName val="0"/>
          <c:showPercent val="0"/>
          <c:showBubbleSize val="0"/>
        </c:dLbls>
        <c:axId val="827146000"/>
        <c:axId val="1461153104"/>
      </c:areaChart>
      <c:catAx>
        <c:axId val="82714600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dirty="0"/>
                  <a:t>Month</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title>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1461153104"/>
        <c:crosses val="autoZero"/>
        <c:auto val="1"/>
        <c:lblAlgn val="ctr"/>
        <c:lblOffset val="100"/>
        <c:noMultiLvlLbl val="0"/>
      </c:catAx>
      <c:valAx>
        <c:axId val="146115310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dirty="0"/>
                  <a:t>Heat production</a:t>
                </a:r>
                <a:r>
                  <a:rPr lang="nb-NO" baseline="0" dirty="0"/>
                  <a:t> (GWh)</a:t>
                </a:r>
                <a:endParaRPr lang="nb-NO" dirty="0"/>
              </a:p>
            </c:rich>
          </c:tx>
          <c:layout>
            <c:manualLayout>
              <c:xMode val="edge"/>
              <c:yMode val="edge"/>
              <c:x val="1.1065301196345875E-2"/>
              <c:y val="0.24334878284115929"/>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title>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27146000"/>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zero"/>
    <c:showDLblsOverMax val="0"/>
  </c:chart>
  <c:spPr>
    <a:noFill/>
    <a:ln>
      <a:noFill/>
    </a:ln>
    <a:effectLst/>
  </c:spPr>
  <c:txPr>
    <a:bodyPr/>
    <a:lstStyle/>
    <a:p>
      <a:pPr>
        <a:defRPr/>
      </a:pPr>
      <a:endParaRPr lang="nb-NO"/>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7.emf"/></Relationships>
</file>

<file path=ppt/drawings/drawing1.xml><?xml version="1.0" encoding="utf-8"?>
<c:userShapes xmlns:c="http://schemas.openxmlformats.org/drawingml/2006/chart">
  <cdr:relSizeAnchor xmlns:cdr="http://schemas.openxmlformats.org/drawingml/2006/chartDrawing">
    <cdr:from>
      <cdr:x>0.11885</cdr:x>
      <cdr:y>3.22962E-7</cdr:y>
    </cdr:from>
    <cdr:to>
      <cdr:x>0.9625</cdr:x>
      <cdr:y>0.34388</cdr:y>
    </cdr:to>
    <cdr:sp macro="" textlink="">
      <cdr:nvSpPr>
        <cdr:cNvPr id="2" name="Tittel 1"/>
        <cdr:cNvSpPr>
          <a:spLocks xmlns:a="http://schemas.openxmlformats.org/drawingml/2006/main" noGrp="1"/>
        </cdr:cNvSpPr>
      </cdr:nvSpPr>
      <cdr:spPr>
        <a:xfrm xmlns:a="http://schemas.openxmlformats.org/drawingml/2006/main">
          <a:off x="607644" y="1"/>
          <a:ext cx="4313323" cy="1064770"/>
        </a:xfrm>
        <a:prstGeom xmlns:a="http://schemas.openxmlformats.org/drawingml/2006/main" prst="rect">
          <a:avLst/>
        </a:prstGeom>
      </cdr:spPr>
      <cdr:txBody>
        <a:bodyPr xmlns:a="http://schemas.openxmlformats.org/drawingml/2006/main" vert="horz" lIns="0" tIns="45720" rIns="91440" bIns="45720" rtlCol="0" anchor="b" anchorCtr="0">
          <a:normAutofit fontScale="90000"/>
        </a:bodyPr>
        <a:lstStyle xmlns:a="http://schemas.openxmlformats.org/drawingml/2006/main">
          <a:lvl1pPr algn="l" defTabSz="457200" rtl="0" eaLnBrk="1" latinLnBrk="0" hangingPunct="1">
            <a:spcBef>
              <a:spcPct val="0"/>
            </a:spcBef>
            <a:buNone/>
            <a:defRPr sz="2600" b="1" i="0" kern="1200">
              <a:solidFill>
                <a:srgbClr val="0063A2"/>
              </a:solidFill>
              <a:latin typeface="Arial"/>
              <a:ea typeface="+mj-ea"/>
              <a:cs typeface="Arial"/>
            </a:defRPr>
          </a:lvl1pPr>
        </a:lstStyle>
        <a:p xmlns:a="http://schemas.openxmlformats.org/drawingml/2006/main">
          <a:pPr algn="ctr"/>
          <a:endParaRPr lang="nb-NO" dirty="0"/>
        </a:p>
      </cdr:txBody>
    </cdr:sp>
  </cdr:relSizeAnchor>
  <cdr:relSizeAnchor xmlns:cdr="http://schemas.openxmlformats.org/drawingml/2006/chartDrawing">
    <cdr:from>
      <cdr:x>0.21304</cdr:x>
      <cdr:y>0.24547</cdr:y>
    </cdr:from>
    <cdr:to>
      <cdr:x>0.57923</cdr:x>
      <cdr:y>0.57106</cdr:y>
    </cdr:to>
    <cdr:cxnSp macro="">
      <cdr:nvCxnSpPr>
        <cdr:cNvPr id="8" name="Kobling: buet 7">
          <a:extLst xmlns:a="http://schemas.openxmlformats.org/drawingml/2006/main">
            <a:ext uri="{FF2B5EF4-FFF2-40B4-BE49-F238E27FC236}">
              <a16:creationId xmlns:a16="http://schemas.microsoft.com/office/drawing/2014/main" id="{36062A94-670F-4EB9-B995-D741CDDF772E}"/>
            </a:ext>
          </a:extLst>
        </cdr:cNvPr>
        <cdr:cNvCxnSpPr/>
      </cdr:nvCxnSpPr>
      <cdr:spPr>
        <a:xfrm xmlns:a="http://schemas.openxmlformats.org/drawingml/2006/main">
          <a:off x="1089224" y="760072"/>
          <a:ext cx="1872208" cy="1008112"/>
        </a:xfrm>
        <a:prstGeom xmlns:a="http://schemas.openxmlformats.org/drawingml/2006/main" prst="curvedConnector3">
          <a:avLst>
            <a:gd name="adj1" fmla="val 100321"/>
          </a:avLst>
        </a:prstGeom>
        <a:ln xmlns:a="http://schemas.openxmlformats.org/drawingml/2006/main" w="76200">
          <a:solidFill>
            <a:srgbClr val="FF0000"/>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2644</cdr:x>
      <cdr:y>0.67773</cdr:y>
    </cdr:from>
    <cdr:to>
      <cdr:x>0.95541</cdr:x>
      <cdr:y>0.67773</cdr:y>
    </cdr:to>
    <cdr:cxnSp macro="">
      <cdr:nvCxnSpPr>
        <cdr:cNvPr id="4" name="Straight Connector 3">
          <a:extLst xmlns:a="http://schemas.openxmlformats.org/drawingml/2006/main">
            <a:ext uri="{FF2B5EF4-FFF2-40B4-BE49-F238E27FC236}">
              <a16:creationId xmlns:a16="http://schemas.microsoft.com/office/drawing/2014/main" id="{67AB03EC-9DDA-4765-ABA5-B82433363D38}"/>
            </a:ext>
          </a:extLst>
        </cdr:cNvPr>
        <cdr:cNvCxnSpPr/>
      </cdr:nvCxnSpPr>
      <cdr:spPr>
        <a:xfrm xmlns:a="http://schemas.openxmlformats.org/drawingml/2006/main">
          <a:off x="682851" y="3123313"/>
          <a:ext cx="4476998" cy="0"/>
        </a:xfrm>
        <a:prstGeom xmlns:a="http://schemas.openxmlformats.org/drawingml/2006/main" prst="line">
          <a:avLst/>
        </a:prstGeom>
        <a:ln xmlns:a="http://schemas.openxmlformats.org/drawingml/2006/main"/>
      </cdr:spPr>
      <cdr:style>
        <a:lnRef xmlns:a="http://schemas.openxmlformats.org/drawingml/2006/main" idx="3">
          <a:schemeClr val="dk1"/>
        </a:lnRef>
        <a:fillRef xmlns:a="http://schemas.openxmlformats.org/drawingml/2006/main" idx="0">
          <a:schemeClr val="dk1"/>
        </a:fillRef>
        <a:effectRef xmlns:a="http://schemas.openxmlformats.org/drawingml/2006/main" idx="2">
          <a:schemeClr val="dk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E057B95-CC6E-5E49-B979-02A881CE9015}" type="datetimeFigureOut">
              <a:rPr lang="nb-NO" smtClean="0"/>
              <a:t>29.05.2019</a:t>
            </a:fld>
            <a:endParaRPr lang="nb-NO"/>
          </a:p>
        </p:txBody>
      </p:sp>
      <p:sp>
        <p:nvSpPr>
          <p:cNvPr id="4" name="Plassholder for bunn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85F104D-A73A-F844-A0BB-F030FE16886D}" type="slidenum">
              <a:rPr lang="nb-NO" smtClean="0"/>
              <a:t>‹#›</a:t>
            </a:fld>
            <a:endParaRPr lang="nb-NO"/>
          </a:p>
        </p:txBody>
      </p:sp>
    </p:spTree>
    <p:extLst>
      <p:ext uri="{BB962C8B-B14F-4D97-AF65-F5344CB8AC3E}">
        <p14:creationId xmlns:p14="http://schemas.microsoft.com/office/powerpoint/2010/main" val="2051654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4F4C46-0646-4CE5-B45A-138F03A05D09}" type="datetimeFigureOut">
              <a:rPr lang="en-US" smtClean="0"/>
              <a:t>5/29/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0F9EF4-2FB0-475C-874E-1488FB6448C0}" type="slidenum">
              <a:rPr lang="en-US" smtClean="0"/>
              <a:t>‹#›</a:t>
            </a:fld>
            <a:endParaRPr lang="en-US"/>
          </a:p>
        </p:txBody>
      </p:sp>
    </p:spTree>
    <p:extLst>
      <p:ext uri="{BB962C8B-B14F-4D97-AF65-F5344CB8AC3E}">
        <p14:creationId xmlns:p14="http://schemas.microsoft.com/office/powerpoint/2010/main" val="2056255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sz="1200" kern="1200" dirty="0">
                <a:solidFill>
                  <a:schemeClr val="tx1"/>
                </a:solidFill>
                <a:effectLst/>
                <a:latin typeface="+mn-lt"/>
                <a:ea typeface="+mn-ea"/>
                <a:cs typeface="+mn-cs"/>
              </a:rPr>
              <a:t>12.15:</a:t>
            </a:r>
            <a:r>
              <a:rPr lang="en-US" sz="1200" b="1" kern="1200" dirty="0">
                <a:solidFill>
                  <a:schemeClr val="tx1"/>
                </a:solidFill>
                <a:effectLst/>
                <a:latin typeface="+mn-lt"/>
                <a:ea typeface="+mn-ea"/>
                <a:cs typeface="+mn-cs"/>
              </a:rPr>
              <a:t> </a:t>
            </a:r>
            <a:r>
              <a:rPr lang="en-US" sz="1200" b="1" kern="1200" dirty="0" err="1">
                <a:solidFill>
                  <a:schemeClr val="tx1"/>
                </a:solidFill>
                <a:effectLst/>
                <a:latin typeface="+mn-lt"/>
                <a:ea typeface="+mn-ea"/>
                <a:cs typeface="+mn-cs"/>
              </a:rPr>
              <a:t>GrowSmarter</a:t>
            </a:r>
            <a:r>
              <a:rPr lang="en-US" sz="1200" b="1" kern="1200" dirty="0">
                <a:solidFill>
                  <a:schemeClr val="tx1"/>
                </a:solidFill>
                <a:effectLst/>
                <a:latin typeface="+mn-lt"/>
                <a:ea typeface="+mn-ea"/>
                <a:cs typeface="+mn-cs"/>
              </a:rPr>
              <a:t> –  Integrated solutions for smart cities/testing innovative models in Oslo</a:t>
            </a:r>
            <a:endParaRPr lang="nb-NO" sz="1200" kern="1200" dirty="0">
              <a:solidFill>
                <a:schemeClr val="tx1"/>
              </a:solidFill>
              <a:effectLst/>
              <a:latin typeface="+mn-lt"/>
              <a:ea typeface="+mn-ea"/>
              <a:cs typeface="+mn-cs"/>
            </a:endParaRPr>
          </a:p>
          <a:p>
            <a:r>
              <a:rPr lang="en-US" sz="1200" i="1" kern="1200" dirty="0">
                <a:solidFill>
                  <a:schemeClr val="tx1"/>
                </a:solidFill>
                <a:effectLst/>
                <a:latin typeface="+mn-lt"/>
                <a:ea typeface="+mn-ea"/>
                <a:cs typeface="+mn-cs"/>
              </a:rPr>
              <a:t>Cato Kjølstad, Head of public affairs Norway, Fortum</a:t>
            </a:r>
            <a:endParaRPr lang="nb-NO"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nb-NO" sz="1200" kern="1200" dirty="0">
              <a:solidFill>
                <a:schemeClr val="tx1"/>
              </a:solidFill>
              <a:effectLst/>
              <a:latin typeface="+mn-lt"/>
              <a:ea typeface="+mn-ea"/>
              <a:cs typeface="+mn-cs"/>
            </a:endParaRPr>
          </a:p>
          <a:p>
            <a:r>
              <a:rPr lang="en-US" sz="1200" kern="1200" dirty="0" err="1">
                <a:solidFill>
                  <a:schemeClr val="tx1"/>
                </a:solidFill>
                <a:effectLst/>
                <a:latin typeface="+mn-lt"/>
                <a:ea typeface="+mn-ea"/>
                <a:cs typeface="+mn-cs"/>
              </a:rPr>
              <a:t>GrowSmarter</a:t>
            </a:r>
            <a:r>
              <a:rPr lang="en-US" sz="1200" kern="1200" dirty="0">
                <a:solidFill>
                  <a:schemeClr val="tx1"/>
                </a:solidFill>
                <a:effectLst/>
                <a:latin typeface="+mn-lt"/>
                <a:ea typeface="+mn-ea"/>
                <a:cs typeface="+mn-cs"/>
              </a:rPr>
              <a:t> is an EU funded project that brings cities and industry together to demonstrate 12 smart city solutions. Its goal is to provide valuable and practical insights on energy, infrastructure and transport. Fortum is taking an important role as an innovative technology-based energy supplier in many cities in Nordic countries.  </a:t>
            </a:r>
            <a:endParaRPr lang="nb-NO"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nb-NO"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slo was elected EUs green capital 2019. As a part of the green capital Fortum has decided to support three action areas being modeled at </a:t>
            </a:r>
            <a:r>
              <a:rPr lang="en-US" sz="1200" kern="1200" dirty="0" err="1">
                <a:solidFill>
                  <a:schemeClr val="tx1"/>
                </a:solidFill>
                <a:effectLst/>
                <a:latin typeface="+mn-lt"/>
                <a:ea typeface="+mn-ea"/>
                <a:cs typeface="+mn-cs"/>
              </a:rPr>
              <a:t>Furuset</a:t>
            </a:r>
            <a:r>
              <a:rPr lang="en-US" sz="1200" kern="1200" dirty="0">
                <a:solidFill>
                  <a:schemeClr val="tx1"/>
                </a:solidFill>
                <a:effectLst/>
                <a:latin typeface="+mn-lt"/>
                <a:ea typeface="+mn-ea"/>
                <a:cs typeface="+mn-cs"/>
              </a:rPr>
              <a:t> district in Oslo: Micro Energy system, Integrated infrastructure and Sustainable Urban Mobility. </a:t>
            </a:r>
            <a:r>
              <a:rPr lang="en-US" sz="1200" kern="1200" dirty="0" err="1">
                <a:solidFill>
                  <a:schemeClr val="tx1"/>
                </a:solidFill>
                <a:effectLst/>
                <a:latin typeface="+mn-lt"/>
                <a:ea typeface="+mn-ea"/>
                <a:cs typeface="+mn-cs"/>
              </a:rPr>
              <a:t>Furuset</a:t>
            </a:r>
            <a:r>
              <a:rPr lang="en-US" sz="1200" kern="1200" dirty="0">
                <a:solidFill>
                  <a:schemeClr val="tx1"/>
                </a:solidFill>
                <a:effectLst/>
                <a:latin typeface="+mn-lt"/>
                <a:ea typeface="+mn-ea"/>
                <a:cs typeface="+mn-cs"/>
              </a:rPr>
              <a:t> is also one of eight pilot projects in the national FME (</a:t>
            </a:r>
            <a:r>
              <a:rPr lang="en-US" sz="1200" kern="1200" dirty="0" err="1">
                <a:solidFill>
                  <a:schemeClr val="tx1"/>
                </a:solidFill>
                <a:effectLst/>
                <a:latin typeface="+mn-lt"/>
                <a:ea typeface="+mn-ea"/>
                <a:cs typeface="+mn-cs"/>
              </a:rPr>
              <a:t>Centres</a:t>
            </a:r>
            <a:r>
              <a:rPr lang="en-US" sz="1200" kern="1200" dirty="0">
                <a:solidFill>
                  <a:schemeClr val="tx1"/>
                </a:solidFill>
                <a:effectLst/>
                <a:latin typeface="+mn-lt"/>
                <a:ea typeface="+mn-ea"/>
                <a:cs typeface="+mn-cs"/>
              </a:rPr>
              <a:t> for environmental-friendly research) ZEN (zero emission neighborhood). Focus is developing smart solutions to improve end-user flexibility and security of supply by testing innovative models for efficient resource utilization and energy markets coupling (electricity and heating) as well as integration of energy storage solutions. </a:t>
            </a:r>
            <a:endParaRPr lang="nb-NO"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nb-NO" sz="1200" kern="1200" dirty="0">
              <a:solidFill>
                <a:schemeClr val="tx1"/>
              </a:solidFill>
              <a:effectLst/>
              <a:latin typeface="+mn-lt"/>
              <a:ea typeface="+mn-ea"/>
              <a:cs typeface="+mn-cs"/>
            </a:endParaRP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660AA7-B332-445C-B333-2DE9989610F4}" type="slidenum">
              <a:rPr kumimoji="0" lang="en-GB" sz="1800" b="0" i="0" u="none" strike="noStrike" kern="0" cap="none" spc="0" normalizeH="0" baseline="0" noProof="0" smtClean="0">
                <a:ln>
                  <a:noFill/>
                </a:ln>
                <a:solidFill>
                  <a:sysClr val="windowText" lastClr="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24612143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A4485-C915-4548-884A-77A5DA8772A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29903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A4485-C915-4548-884A-77A5DA8772A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41523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660AA7-B332-445C-B333-2DE9989610F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23553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A4485-C915-4548-884A-77A5DA8772A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5459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A4485-C915-4548-884A-77A5DA8772A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4448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st. 190 employees.</a:t>
            </a:r>
          </a:p>
          <a:p>
            <a:r>
              <a:rPr lang="en-US" dirty="0"/>
              <a:t>Waste heat from approx. 400,000 </a:t>
            </a:r>
            <a:r>
              <a:rPr lang="en-US" dirty="0" err="1"/>
              <a:t>tonnes</a:t>
            </a:r>
            <a:r>
              <a:rPr lang="en-US" dirty="0"/>
              <a:t> of waste per year.</a:t>
            </a:r>
          </a:p>
          <a:p>
            <a:r>
              <a:rPr lang="en-US" dirty="0"/>
              <a:t>Produces 1.7 </a:t>
            </a:r>
            <a:r>
              <a:rPr lang="en-US" dirty="0" err="1"/>
              <a:t>TWh</a:t>
            </a:r>
            <a:r>
              <a:rPr lang="en-US" dirty="0"/>
              <a:t> of district heating per year.</a:t>
            </a:r>
          </a:p>
          <a:p>
            <a:r>
              <a:rPr lang="en-US" dirty="0"/>
              <a:t>Produces about 150 GWh of electricity (est. 2017)</a:t>
            </a:r>
          </a:p>
          <a:p>
            <a:r>
              <a:rPr lang="en-US" dirty="0"/>
              <a:t>600 kilometers of district heating pipes.</a:t>
            </a:r>
          </a:p>
          <a:p>
            <a:r>
              <a:rPr lang="en-US" dirty="0"/>
              <a:t>30 million liters of water in constant circulation.</a:t>
            </a:r>
          </a:p>
          <a:p>
            <a:r>
              <a:rPr lang="en-US" dirty="0"/>
              <a:t>Over 5200 delivery points</a:t>
            </a:r>
          </a:p>
          <a:p>
            <a:r>
              <a:rPr lang="en-US" dirty="0"/>
              <a:t>Over 200,000 end customers</a:t>
            </a:r>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A4485-C915-4548-884A-77A5DA8772A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90552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A4485-C915-4548-884A-77A5DA8772A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5460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A4485-C915-4548-884A-77A5DA8772A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8902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sz="1200" dirty="0">
                <a:solidFill>
                  <a:schemeClr val="tx1"/>
                </a:solidFill>
              </a:rPr>
              <a:t>Store excess heat from the waste incineration from summer to winter. The heat will be fed in to the DH-system and will reduce the use of peak boilers.</a:t>
            </a:r>
          </a:p>
          <a:p>
            <a:pPr algn="l"/>
            <a:r>
              <a:rPr lang="en-US" sz="1200" b="0" dirty="0">
                <a:solidFill>
                  <a:schemeClr val="tx1"/>
                </a:solidFill>
              </a:rPr>
              <a:t>Low temperature  DH. </a:t>
            </a:r>
            <a:r>
              <a:rPr lang="en-US" sz="1200" dirty="0">
                <a:solidFill>
                  <a:schemeClr val="tx1"/>
                </a:solidFill>
              </a:rPr>
              <a:t>Enables efficient utilization of the high temperature seasonal storage</a:t>
            </a:r>
            <a:br>
              <a:rPr lang="en-US" sz="1200" dirty="0">
                <a:solidFill>
                  <a:schemeClr val="tx1"/>
                </a:solidFill>
              </a:rPr>
            </a:br>
            <a:r>
              <a:rPr lang="en-US" sz="1200" b="1" dirty="0">
                <a:solidFill>
                  <a:schemeClr val="tx1"/>
                </a:solidFill>
              </a:rPr>
              <a:t>Low temperature building distribution system</a:t>
            </a:r>
          </a:p>
          <a:p>
            <a:pPr algn="l"/>
            <a:r>
              <a:rPr lang="en-US" sz="1200" dirty="0">
                <a:solidFill>
                  <a:schemeClr val="tx1"/>
                </a:solidFill>
              </a:rPr>
              <a:t>Enables efficient utilization of the low temperature grid and the high temperature seasonal storage</a:t>
            </a:r>
            <a:endParaRPr lang="en-US" sz="1400" dirty="0">
              <a:solidFill>
                <a:schemeClr val="tx1"/>
              </a:solidFill>
            </a:endParaRPr>
          </a:p>
          <a:p>
            <a:pPr algn="l"/>
            <a:endParaRPr lang="en-US" sz="1200" dirty="0"/>
          </a:p>
          <a:p>
            <a:pPr marL="285750" indent="-285750">
              <a:buFont typeface="Arial" panose="020B0604020202020204" pitchFamily="34" charset="0"/>
              <a:buChar char="•"/>
            </a:pPr>
            <a:r>
              <a:rPr lang="en-US" sz="1200" dirty="0"/>
              <a:t>The heat will be used in the local low temperature grid of </a:t>
            </a:r>
            <a:r>
              <a:rPr lang="en-US" sz="1200" dirty="0" err="1"/>
              <a:t>Furuset</a:t>
            </a:r>
            <a:r>
              <a:rPr lang="en-US" sz="1200" dirty="0"/>
              <a:t> and supplemented with district heating from the main grid</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The seasonal storage will decrease cost of heat production as well as reducing the peak heat capacity demand of the area</a:t>
            </a:r>
          </a:p>
          <a:p>
            <a:pPr marL="285750" indent="-285750">
              <a:buFont typeface="Arial" panose="020B0604020202020204" pitchFamily="34" charset="0"/>
              <a:buChar char="•"/>
            </a:pPr>
            <a:endParaRPr lang="en-US" sz="1200" dirty="0"/>
          </a:p>
          <a:p>
            <a:endParaRPr lang="nb-NO" sz="1200" dirty="0"/>
          </a:p>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A4485-C915-4548-884A-77A5DA8772A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84365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giPlex has been running 100% renewable energy since 2004, and the company's data center is some of the world's greenest and most energy efficient.</a:t>
            </a:r>
          </a:p>
          <a:p>
            <a:r>
              <a:rPr lang="en-US" dirty="0"/>
              <a:t>It is a great tool for moving energy from someone who has an energy surplus to someone who demands energy. We are very pleased to be able to transport heat from the data centers.</a:t>
            </a:r>
          </a:p>
          <a:p>
            <a:r>
              <a:rPr lang="en-US" dirty="0"/>
              <a:t>This type of third-party supply in the district heating network is the best for the environment and the city's population, he says.</a:t>
            </a:r>
          </a:p>
          <a:p>
            <a:r>
              <a:rPr lang="en-US" dirty="0"/>
              <a:t>- In this way we strengthen Oslo's circuit-based energy system</a:t>
            </a:r>
          </a:p>
          <a:p>
            <a:endParaRPr lang="en-US" dirty="0"/>
          </a:p>
          <a:p>
            <a:r>
              <a:rPr lang="en-US" dirty="0"/>
              <a:t>Surplus heat of Oslo apartments</a:t>
            </a:r>
          </a:p>
          <a:p>
            <a:r>
              <a:rPr lang="en-US" dirty="0"/>
              <a:t>Soon the energy created in the data center on the Wolf will warm up 5000 Oslo homes. DigiPlex has entered into an agreement with the energy company Fortum Oslo </a:t>
            </a:r>
            <a:r>
              <a:rPr lang="en-US" dirty="0" err="1"/>
              <a:t>Varme</a:t>
            </a:r>
            <a:r>
              <a:rPr lang="en-US" dirty="0"/>
              <a:t> for the recovery of surplus heat.</a:t>
            </a:r>
          </a:p>
          <a:p>
            <a:endParaRPr lang="en-US" dirty="0"/>
          </a:p>
          <a:p>
            <a:r>
              <a:rPr lang="en-US" dirty="0"/>
              <a:t>- Every time you are online, streaming a TV show or using a cloud service, a data center process starts. The process creates heat. Now, the heat will no longer be released into the atmosphere, but will be sent back to the consumer as district heating.</a:t>
            </a:r>
          </a:p>
          <a:p>
            <a:endParaRPr lang="en-US" dirty="0"/>
          </a:p>
          <a:p>
            <a:r>
              <a:rPr lang="en-US" dirty="0"/>
              <a:t>From the autumn of 2019, heat exchangers on the Wolf will send heated water out into Oslo's district heating network.</a:t>
            </a:r>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A4485-C915-4548-884A-77A5DA8772A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35062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9A4485-C915-4548-884A-77A5DA8772A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087484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2.xml"/><Relationship Id="rId7" Type="http://schemas.openxmlformats.org/officeDocument/2006/relationships/oleObject" Target="../embeddings/oleObject3.bin"/><Relationship Id="rId2" Type="http://schemas.openxmlformats.org/officeDocument/2006/relationships/customXml" Target="../../customXml/item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customXml" Target="../../customXml/item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079" name="think-cell Slide" r:id="rId6" imgW="360" imgH="360" progId="TCLayout.ActiveDocument.1">
                  <p:embed/>
                </p:oleObj>
              </mc:Choice>
              <mc:Fallback>
                <p:oleObj name="think-cell Slide" r:id="rId6" imgW="360" imgH="360" progId="TCLayout.ActiveDocument.1">
                  <p:embed/>
                  <p:pic>
                    <p:nvPicPr>
                      <p:cNvPr id="2" name="Objek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3" name="Picture 14" descr="C:\Users\z0035dbp\Desktop\ITS presentation\Bilder\siem-throughput-traffc-layer-berlin 16-9.jpg"/>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120297" y="-70395"/>
            <a:ext cx="12432596" cy="6998789"/>
          </a:xfrm>
          <a:prstGeom prst="rect">
            <a:avLst/>
          </a:prstGeom>
          <a:solidFill>
            <a:schemeClr val="bg1"/>
          </a:solidFill>
        </p:spPr>
      </p:pic>
      <p:sp>
        <p:nvSpPr>
          <p:cNvPr id="4" name="cdtRectangle 115 Id57350"/>
          <p:cNvSpPr>
            <a:spLocks noGrp="1" noChangeArrowheads="1"/>
          </p:cNvSpPr>
          <p:nvPr>
            <p:ph type="ctrTitle"/>
            <p:custDataLst>
              <p:tags r:id="rId3"/>
            </p:custDataLst>
          </p:nvPr>
        </p:nvSpPr>
        <p:spPr bwMode="ltGray">
          <a:xfrm>
            <a:off x="626736" y="4139931"/>
            <a:ext cx="6476627" cy="166256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a:t>Mastertitelformat bearbeiten</a:t>
            </a:r>
            <a:endParaRPr lang="en-US" dirty="0"/>
          </a:p>
        </p:txBody>
      </p:sp>
      <p:sp>
        <p:nvSpPr>
          <p:cNvPr id="5" name="cdtText Box 101 Id11"/>
          <p:cNvSpPr txBox="1">
            <a:spLocks noChangeArrowheads="1"/>
          </p:cNvSpPr>
          <p:nvPr userDrawn="1">
            <p:custDataLst>
              <p:tags r:id="rId4"/>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dirty="0"/>
              <a:t>Siemens.com</a:t>
            </a:r>
          </a:p>
        </p:txBody>
      </p:sp>
      <p:sp>
        <p:nvSpPr>
          <p:cNvPr id="10" name="Textplatzhalter 57343"/>
          <p:cNvSpPr>
            <a:spLocks noGrp="1"/>
          </p:cNvSpPr>
          <p:nvPr>
            <p:ph type="body" sz="quarter" idx="13" hasCustomPrompt="1"/>
          </p:nvPr>
        </p:nvSpPr>
        <p:spPr>
          <a:xfrm>
            <a:off x="626737" y="5907600"/>
            <a:ext cx="2338782" cy="324000"/>
          </a:xfrm>
        </p:spPr>
        <p:txBody>
          <a:bodyPr lIns="216000" tIns="90000" rIns="0" bIns="46800"/>
          <a:lstStyle>
            <a:lvl1pPr algn="l">
              <a:lnSpc>
                <a:spcPct val="100000"/>
              </a:lnSpc>
              <a:defRPr sz="999" b="1"/>
            </a:lvl1pPr>
            <a:lvl2pPr marL="1587" indent="0">
              <a:buNone/>
              <a:defRPr/>
            </a:lvl2pPr>
          </a:lstStyle>
          <a:p>
            <a:pPr lvl="0"/>
            <a:r>
              <a:rPr lang="en-US" dirty="0"/>
              <a:t>Please insert </a:t>
            </a:r>
            <a:r>
              <a:rPr lang="en-US" dirty="0" err="1"/>
              <a:t>Restrictedity</a:t>
            </a:r>
            <a:r>
              <a:rPr lang="en-US" dirty="0"/>
              <a:t> note</a:t>
            </a:r>
          </a:p>
        </p:txBody>
      </p:sp>
      <p:grpSp>
        <p:nvGrpSpPr>
          <p:cNvPr id="32" name="Gruppieren 31"/>
          <p:cNvGrpSpPr/>
          <p:nvPr userDrawn="1"/>
        </p:nvGrpSpPr>
        <p:grpSpPr>
          <a:xfrm>
            <a:off x="-215888" y="-216000"/>
            <a:ext cx="12622226"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822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4" name="Group 33"/>
          <p:cNvGrpSpPr>
            <a:grpSpLocks noChangeAspect="1"/>
          </p:cNvGrpSpPr>
          <p:nvPr userDrawn="1"/>
        </p:nvGrpSpPr>
        <p:grpSpPr bwMode="auto">
          <a:xfrm>
            <a:off x="9550189" y="323850"/>
            <a:ext cx="2157876" cy="9144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grpSp>
    </p:spTree>
    <p:extLst>
      <p:ext uri="{BB962C8B-B14F-4D97-AF65-F5344CB8AC3E}">
        <p14:creationId xmlns:p14="http://schemas.microsoft.com/office/powerpoint/2010/main" val="3763344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tellysbilde #2">
    <p:bg>
      <p:bgPr>
        <a:solidFill>
          <a:schemeClr val="lt1"/>
        </a:solidFill>
        <a:effectLst/>
      </p:bgPr>
    </p:bg>
    <p:spTree>
      <p:nvGrpSpPr>
        <p:cNvPr id="1" name=""/>
        <p:cNvGrpSpPr/>
        <p:nvPr/>
      </p:nvGrpSpPr>
      <p:grpSpPr>
        <a:xfrm>
          <a:off x="0" y="0"/>
          <a:ext cx="0" cy="0"/>
          <a:chOff x="0" y="0"/>
          <a:chExt cx="0" cy="0"/>
        </a:xfrm>
      </p:grpSpPr>
      <p:sp>
        <p:nvSpPr>
          <p:cNvPr id="13" name="Plassholder for bilde 12">
            <a:extLst>
              <a:ext uri="{FF2B5EF4-FFF2-40B4-BE49-F238E27FC236}">
                <a16:creationId xmlns:a16="http://schemas.microsoft.com/office/drawing/2014/main" id="{6DB984A3-CCAF-430F-B635-4ABD2578E002}"/>
              </a:ext>
            </a:extLst>
          </p:cNvPr>
          <p:cNvSpPr>
            <a:spLocks noGrp="1"/>
          </p:cNvSpPr>
          <p:nvPr>
            <p:ph type="pic" sz="quarter" idx="13"/>
          </p:nvPr>
        </p:nvSpPr>
        <p:spPr>
          <a:xfrm>
            <a:off x="168793" y="126603"/>
            <a:ext cx="11854403" cy="6380586"/>
          </a:xfrm>
        </p:spPr>
        <p:txBody>
          <a:bodyPr/>
          <a:lstStyle/>
          <a:p>
            <a:r>
              <a:rPr lang="nb-NO"/>
              <a:t>Klikk ikonet for å legge til et bilde</a:t>
            </a:r>
            <a:endParaRPr lang="nb-NO" dirty="0"/>
          </a:p>
        </p:txBody>
      </p:sp>
      <p:sp>
        <p:nvSpPr>
          <p:cNvPr id="2" name="Title 1"/>
          <p:cNvSpPr>
            <a:spLocks noGrp="1"/>
          </p:cNvSpPr>
          <p:nvPr>
            <p:ph type="ctrTitle"/>
          </p:nvPr>
        </p:nvSpPr>
        <p:spPr>
          <a:xfrm>
            <a:off x="914401" y="3378381"/>
            <a:ext cx="10363200" cy="584390"/>
          </a:xfrm>
        </p:spPr>
        <p:txBody>
          <a:bodyPr anchor="b">
            <a:spAutoFit/>
          </a:bodyPr>
          <a:lstStyle>
            <a:lvl1pPr algn="ctr">
              <a:defRPr sz="3797">
                <a:solidFill>
                  <a:schemeClr val="lt1"/>
                </a:solidFill>
              </a:defRPr>
            </a:lvl1pPr>
          </a:lstStyle>
          <a:p>
            <a:r>
              <a:rPr lang="nb-NO"/>
              <a:t>Klikk for å redigere tittelstil</a:t>
            </a:r>
            <a:endParaRPr lang="en-US" dirty="0"/>
          </a:p>
        </p:txBody>
      </p:sp>
      <p:sp>
        <p:nvSpPr>
          <p:cNvPr id="3" name="Subtitle 2"/>
          <p:cNvSpPr>
            <a:spLocks noGrp="1"/>
          </p:cNvSpPr>
          <p:nvPr>
            <p:ph type="subTitle" idx="1"/>
          </p:nvPr>
        </p:nvSpPr>
        <p:spPr>
          <a:xfrm>
            <a:off x="914401" y="2823067"/>
            <a:ext cx="10363200" cy="486991"/>
          </a:xfrm>
        </p:spPr>
        <p:txBody>
          <a:bodyPr>
            <a:spAutoFit/>
          </a:bodyPr>
          <a:lstStyle>
            <a:lvl1pPr marL="0" indent="0" algn="ctr">
              <a:buNone/>
              <a:defRPr sz="3164" b="1">
                <a:solidFill>
                  <a:schemeClr val="lt1"/>
                </a:solidFill>
              </a:defRPr>
            </a:lvl1pPr>
            <a:lvl2pPr marL="457166" indent="0" algn="ctr">
              <a:buNone/>
              <a:defRPr sz="2000"/>
            </a:lvl2pPr>
            <a:lvl3pPr marL="914332" indent="0" algn="ctr">
              <a:buNone/>
              <a:defRPr sz="1800"/>
            </a:lvl3pPr>
            <a:lvl4pPr marL="1371497" indent="0" algn="ctr">
              <a:buNone/>
              <a:defRPr sz="1600"/>
            </a:lvl4pPr>
            <a:lvl5pPr marL="1828664" indent="0" algn="ctr">
              <a:buNone/>
              <a:defRPr sz="1600"/>
            </a:lvl5pPr>
            <a:lvl6pPr marL="2285830" indent="0" algn="ctr">
              <a:buNone/>
              <a:defRPr sz="1600"/>
            </a:lvl6pPr>
            <a:lvl7pPr marL="2742995" indent="0" algn="ctr">
              <a:buNone/>
              <a:defRPr sz="1600"/>
            </a:lvl7pPr>
            <a:lvl8pPr marL="3200161" indent="0" algn="ctr">
              <a:buNone/>
              <a:defRPr sz="1600"/>
            </a:lvl8pPr>
            <a:lvl9pPr marL="3657327" indent="0" algn="ctr">
              <a:buNone/>
              <a:defRPr sz="1600"/>
            </a:lvl9pPr>
          </a:lstStyle>
          <a:p>
            <a:r>
              <a:rPr lang="nb-NO"/>
              <a:t>Klikk for å redigere undertittelstil i malen</a:t>
            </a:r>
            <a:endParaRPr lang="en-US" dirty="0"/>
          </a:p>
        </p:txBody>
      </p:sp>
      <p:sp>
        <p:nvSpPr>
          <p:cNvPr id="4" name="Date Placeholder 3"/>
          <p:cNvSpPr>
            <a:spLocks noGrp="1"/>
          </p:cNvSpPr>
          <p:nvPr>
            <p:ph type="dt" sz="half" idx="10"/>
          </p:nvPr>
        </p:nvSpPr>
        <p:spPr/>
        <p:txBody>
          <a:bodyPr/>
          <a:lstStyle>
            <a:lvl1pPr>
              <a:defRPr>
                <a:solidFill>
                  <a:schemeClr val="dk1"/>
                </a:solidFill>
              </a:defRPr>
            </a:lvl1pPr>
          </a:lstStyle>
          <a:p>
            <a:r>
              <a:rPr lang="nb-NO"/>
              <a:t>Dato</a:t>
            </a:r>
          </a:p>
        </p:txBody>
      </p:sp>
      <p:sp>
        <p:nvSpPr>
          <p:cNvPr id="6" name="Slide Number Placeholder 5"/>
          <p:cNvSpPr>
            <a:spLocks noGrp="1"/>
          </p:cNvSpPr>
          <p:nvPr>
            <p:ph type="sldNum" sz="quarter" idx="12"/>
          </p:nvPr>
        </p:nvSpPr>
        <p:spPr/>
        <p:txBody>
          <a:bodyPr/>
          <a:lstStyle>
            <a:lvl1pPr>
              <a:defRPr>
                <a:solidFill>
                  <a:schemeClr val="dk1"/>
                </a:solidFill>
              </a:defRPr>
            </a:lvl1pPr>
          </a:lstStyle>
          <a:p>
            <a:fld id="{D5DAC896-3290-4F14-BAAE-6BA5F8CCFA8A}" type="slidenum">
              <a:rPr lang="nb-NO" smtClean="0"/>
              <a:pPr/>
              <a:t>‹#›</a:t>
            </a:fld>
            <a:endParaRPr lang="nb-NO"/>
          </a:p>
        </p:txBody>
      </p:sp>
      <p:cxnSp>
        <p:nvCxnSpPr>
          <p:cNvPr id="11" name="Rett linje 10">
            <a:extLst>
              <a:ext uri="{FF2B5EF4-FFF2-40B4-BE49-F238E27FC236}">
                <a16:creationId xmlns:a16="http://schemas.microsoft.com/office/drawing/2014/main" id="{06E9339D-9BBE-4F1C-A7A6-A6BAA9FE87DE}"/>
              </a:ext>
            </a:extLst>
          </p:cNvPr>
          <p:cNvCxnSpPr/>
          <p:nvPr userDrawn="1"/>
        </p:nvCxnSpPr>
        <p:spPr>
          <a:xfrm>
            <a:off x="410176" y="6644201"/>
            <a:ext cx="0" cy="1082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Plassholder for tekst 16">
            <a:extLst>
              <a:ext uri="{FF2B5EF4-FFF2-40B4-BE49-F238E27FC236}">
                <a16:creationId xmlns:a16="http://schemas.microsoft.com/office/drawing/2014/main" id="{A905BA47-7711-4CE9-86A1-16DC313BD4F9}"/>
              </a:ext>
            </a:extLst>
          </p:cNvPr>
          <p:cNvSpPr>
            <a:spLocks noGrp="1"/>
          </p:cNvSpPr>
          <p:nvPr>
            <p:ph type="body" sz="quarter" idx="14"/>
          </p:nvPr>
        </p:nvSpPr>
        <p:spPr>
          <a:xfrm>
            <a:off x="420635" y="-10047"/>
            <a:ext cx="2323913" cy="341817"/>
          </a:xfrm>
          <a:solidFill>
            <a:schemeClr val="tx2"/>
          </a:solidFill>
        </p:spPr>
        <p:txBody>
          <a:bodyPr anchor="ctr">
            <a:noAutofit/>
          </a:bodyPr>
          <a:lstStyle>
            <a:lvl1pPr marL="0" indent="0" algn="ctr">
              <a:buNone/>
              <a:defRPr sz="1266" b="1" cap="all" baseline="0">
                <a:solidFill>
                  <a:schemeClr val="bg1"/>
                </a:solidFill>
              </a:defRPr>
            </a:lvl1pPr>
            <a:lvl2pPr algn="ctr">
              <a:defRPr sz="879">
                <a:solidFill>
                  <a:schemeClr val="bg1"/>
                </a:solidFill>
              </a:defRPr>
            </a:lvl2pPr>
            <a:lvl3pPr algn="ctr">
              <a:defRPr sz="879">
                <a:solidFill>
                  <a:schemeClr val="bg1"/>
                </a:solidFill>
              </a:defRPr>
            </a:lvl3pPr>
            <a:lvl4pPr algn="ctr">
              <a:defRPr sz="879">
                <a:solidFill>
                  <a:schemeClr val="bg1"/>
                </a:solidFill>
              </a:defRPr>
            </a:lvl4pPr>
            <a:lvl5pPr algn="ctr">
              <a:defRPr sz="879">
                <a:solidFill>
                  <a:schemeClr val="bg1"/>
                </a:solidFill>
              </a:defRPr>
            </a:lvl5pPr>
          </a:lstStyle>
          <a:p>
            <a:pPr lvl="0"/>
            <a:r>
              <a:rPr lang="nb-NO"/>
              <a:t>Rediger tekststiler i malen</a:t>
            </a:r>
          </a:p>
        </p:txBody>
      </p:sp>
      <p:sp>
        <p:nvSpPr>
          <p:cNvPr id="12" name="Plassholder for tekst 15">
            <a:extLst>
              <a:ext uri="{FF2B5EF4-FFF2-40B4-BE49-F238E27FC236}">
                <a16:creationId xmlns:a16="http://schemas.microsoft.com/office/drawing/2014/main" id="{8702F09A-6807-49CF-BA76-FD84FDF04416}"/>
              </a:ext>
            </a:extLst>
          </p:cNvPr>
          <p:cNvSpPr>
            <a:spLocks noGrp="1"/>
          </p:cNvSpPr>
          <p:nvPr>
            <p:ph type="body" sz="quarter" idx="17" hasCustomPrompt="1"/>
          </p:nvPr>
        </p:nvSpPr>
        <p:spPr>
          <a:xfrm>
            <a:off x="10758710" y="344255"/>
            <a:ext cx="1012654" cy="1012665"/>
          </a:xfrm>
          <a:prstGeom prst="ellipse">
            <a:avLst/>
          </a:prstGeom>
          <a:solidFill>
            <a:srgbClr val="005F64">
              <a:alpha val="69804"/>
            </a:srgbClr>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7" name="Plassholder for tekst 15">
            <a:extLst>
              <a:ext uri="{FF2B5EF4-FFF2-40B4-BE49-F238E27FC236}">
                <a16:creationId xmlns:a16="http://schemas.microsoft.com/office/drawing/2014/main" id="{969A3736-2C3A-486C-992E-5B1AB4968B74}"/>
              </a:ext>
            </a:extLst>
          </p:cNvPr>
          <p:cNvSpPr>
            <a:spLocks noGrp="1"/>
          </p:cNvSpPr>
          <p:nvPr>
            <p:ph type="body" sz="quarter" idx="18" hasCustomPrompt="1"/>
          </p:nvPr>
        </p:nvSpPr>
        <p:spPr>
          <a:xfrm>
            <a:off x="10758710" y="344255"/>
            <a:ext cx="1012654" cy="1012665"/>
          </a:xfrm>
          <a:prstGeom prst="ellipse">
            <a:avLst/>
          </a:prstGeom>
          <a:blipFill dpi="0" rotWithShape="1">
            <a:blip r:embed="rId2"/>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pic>
        <p:nvPicPr>
          <p:cNvPr id="18" name="Bilde 17">
            <a:extLst>
              <a:ext uri="{FF2B5EF4-FFF2-40B4-BE49-F238E27FC236}">
                <a16:creationId xmlns:a16="http://schemas.microsoft.com/office/drawing/2014/main" id="{54DD9634-B56D-4108-BA72-73A45FADFAA6}"/>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l="47291"/>
          <a:stretch/>
        </p:blipFill>
        <p:spPr>
          <a:xfrm>
            <a:off x="9147182" y="6538622"/>
            <a:ext cx="3044818" cy="319378"/>
          </a:xfrm>
          <a:prstGeom prst="rect">
            <a:avLst/>
          </a:prstGeom>
        </p:spPr>
      </p:pic>
      <p:pic>
        <p:nvPicPr>
          <p:cNvPr id="7" name="Bilde 6">
            <a:extLst>
              <a:ext uri="{FF2B5EF4-FFF2-40B4-BE49-F238E27FC236}">
                <a16:creationId xmlns:a16="http://schemas.microsoft.com/office/drawing/2014/main" id="{B1F798B4-5D31-45B5-AB8F-A66DC92F56F3}"/>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4983540" y="6617793"/>
            <a:ext cx="2224907" cy="113604"/>
          </a:xfrm>
          <a:prstGeom prst="rect">
            <a:avLst/>
          </a:prstGeom>
        </p:spPr>
      </p:pic>
    </p:spTree>
    <p:extLst>
      <p:ext uri="{BB962C8B-B14F-4D97-AF65-F5344CB8AC3E}">
        <p14:creationId xmlns:p14="http://schemas.microsoft.com/office/powerpoint/2010/main" val="18482037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tellysbilde #3 (uten bilde)">
    <p:bg>
      <p:bgPr>
        <a:blipFill>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1" y="2831173"/>
            <a:ext cx="10363200" cy="584390"/>
          </a:xfrm>
        </p:spPr>
        <p:txBody>
          <a:bodyPr lIns="0" tIns="0" rIns="0" bIns="0" anchor="b">
            <a:spAutoFit/>
          </a:bodyPr>
          <a:lstStyle>
            <a:lvl1pPr algn="ctr">
              <a:defRPr sz="3797" baseline="0">
                <a:solidFill>
                  <a:schemeClr val="tx1"/>
                </a:solidFill>
              </a:defRPr>
            </a:lvl1pPr>
          </a:lstStyle>
          <a:p>
            <a:r>
              <a:rPr lang="nb-NO" dirty="0"/>
              <a:t>Navn</a:t>
            </a:r>
            <a:r>
              <a:rPr lang="en-US" dirty="0"/>
              <a:t> </a:t>
            </a:r>
            <a:r>
              <a:rPr lang="en-US" dirty="0" err="1"/>
              <a:t>foredragsholder</a:t>
            </a:r>
            <a:endParaRPr lang="en-US" dirty="0"/>
          </a:p>
        </p:txBody>
      </p:sp>
      <p:sp>
        <p:nvSpPr>
          <p:cNvPr id="3" name="Subtitle 2"/>
          <p:cNvSpPr>
            <a:spLocks noGrp="1"/>
          </p:cNvSpPr>
          <p:nvPr>
            <p:ph type="subTitle" idx="1" hasCustomPrompt="1"/>
          </p:nvPr>
        </p:nvSpPr>
        <p:spPr>
          <a:xfrm>
            <a:off x="914401" y="3521693"/>
            <a:ext cx="10363200" cy="486991"/>
          </a:xfrm>
        </p:spPr>
        <p:txBody>
          <a:bodyPr>
            <a:spAutoFit/>
          </a:bodyPr>
          <a:lstStyle>
            <a:lvl1pPr marL="0" indent="0" algn="ctr">
              <a:buNone/>
              <a:defRPr sz="3164" b="1">
                <a:solidFill>
                  <a:schemeClr val="tx1"/>
                </a:solidFill>
              </a:defRPr>
            </a:lvl1pPr>
            <a:lvl2pPr marL="457166" indent="0" algn="ctr">
              <a:buNone/>
              <a:defRPr sz="2000"/>
            </a:lvl2pPr>
            <a:lvl3pPr marL="914332" indent="0" algn="ctr">
              <a:buNone/>
              <a:defRPr sz="1800"/>
            </a:lvl3pPr>
            <a:lvl4pPr marL="1371497" indent="0" algn="ctr">
              <a:buNone/>
              <a:defRPr sz="1600"/>
            </a:lvl4pPr>
            <a:lvl5pPr marL="1828664" indent="0" algn="ctr">
              <a:buNone/>
              <a:defRPr sz="1600"/>
            </a:lvl5pPr>
            <a:lvl6pPr marL="2285830" indent="0" algn="ctr">
              <a:buNone/>
              <a:defRPr sz="1600"/>
            </a:lvl6pPr>
            <a:lvl7pPr marL="2742995" indent="0" algn="ctr">
              <a:buNone/>
              <a:defRPr sz="1600"/>
            </a:lvl7pPr>
            <a:lvl8pPr marL="3200161" indent="0" algn="ctr">
              <a:buNone/>
              <a:defRPr sz="1600"/>
            </a:lvl8pPr>
            <a:lvl9pPr marL="3657327" indent="0" algn="ctr">
              <a:buNone/>
              <a:defRPr sz="1600"/>
            </a:lvl9pPr>
          </a:lstStyle>
          <a:p>
            <a:r>
              <a:rPr lang="nb-NO" dirty="0"/>
              <a:t>Tittel</a:t>
            </a:r>
            <a:endParaRPr lang="en-US" dirty="0"/>
          </a:p>
        </p:txBody>
      </p:sp>
      <p:sp>
        <p:nvSpPr>
          <p:cNvPr id="4" name="Date Placeholder 3"/>
          <p:cNvSpPr>
            <a:spLocks noGrp="1"/>
          </p:cNvSpPr>
          <p:nvPr>
            <p:ph type="dt" sz="half" idx="10"/>
          </p:nvPr>
        </p:nvSpPr>
        <p:spPr>
          <a:xfrm>
            <a:off x="913918" y="5368392"/>
            <a:ext cx="10363684" cy="400431"/>
          </a:xfrm>
        </p:spPr>
        <p:txBody>
          <a:bodyPr vert="horz" wrap="square" lIns="0" tIns="0" rIns="0" bIns="0" rtlCol="0">
            <a:spAutoFit/>
          </a:bodyPr>
          <a:lstStyle>
            <a:lvl1pPr algn="ctr">
              <a:defRPr lang="nb-NO" sz="2602" smtClean="0">
                <a:solidFill>
                  <a:schemeClr val="tx1"/>
                </a:solidFill>
              </a:defRPr>
            </a:lvl1pPr>
          </a:lstStyle>
          <a:p>
            <a:pPr defTabSz="914332">
              <a:spcBef>
                <a:spcPts val="1000"/>
              </a:spcBef>
              <a:buClr>
                <a:schemeClr val="tx2"/>
              </a:buClr>
            </a:pPr>
            <a:r>
              <a:rPr lang="nb-NO"/>
              <a:t>Dato</a:t>
            </a:r>
          </a:p>
        </p:txBody>
      </p:sp>
      <p:sp>
        <p:nvSpPr>
          <p:cNvPr id="16" name="Plassholder for tekst 16">
            <a:extLst>
              <a:ext uri="{FF2B5EF4-FFF2-40B4-BE49-F238E27FC236}">
                <a16:creationId xmlns:a16="http://schemas.microsoft.com/office/drawing/2014/main" id="{A905BA47-7711-4CE9-86A1-16DC313BD4F9}"/>
              </a:ext>
            </a:extLst>
          </p:cNvPr>
          <p:cNvSpPr>
            <a:spLocks noGrp="1"/>
          </p:cNvSpPr>
          <p:nvPr>
            <p:ph type="body" sz="quarter" idx="14"/>
          </p:nvPr>
        </p:nvSpPr>
        <p:spPr>
          <a:xfrm>
            <a:off x="420635" y="-10047"/>
            <a:ext cx="2323913" cy="341817"/>
          </a:xfrm>
          <a:solidFill>
            <a:schemeClr val="tx2"/>
          </a:solidFill>
        </p:spPr>
        <p:txBody>
          <a:bodyPr anchor="ctr">
            <a:noAutofit/>
          </a:bodyPr>
          <a:lstStyle>
            <a:lvl1pPr marL="0" indent="0" algn="ctr">
              <a:buNone/>
              <a:defRPr sz="1266" b="1" cap="all" baseline="0">
                <a:solidFill>
                  <a:schemeClr val="bg1"/>
                </a:solidFill>
              </a:defRPr>
            </a:lvl1pPr>
            <a:lvl2pPr algn="ctr">
              <a:defRPr sz="879">
                <a:solidFill>
                  <a:schemeClr val="bg1"/>
                </a:solidFill>
              </a:defRPr>
            </a:lvl2pPr>
            <a:lvl3pPr algn="ctr">
              <a:defRPr sz="879">
                <a:solidFill>
                  <a:schemeClr val="bg1"/>
                </a:solidFill>
              </a:defRPr>
            </a:lvl3pPr>
            <a:lvl4pPr algn="ctr">
              <a:defRPr sz="879">
                <a:solidFill>
                  <a:schemeClr val="bg1"/>
                </a:solidFill>
              </a:defRPr>
            </a:lvl4pPr>
            <a:lvl5pPr algn="ctr">
              <a:defRPr sz="879">
                <a:solidFill>
                  <a:schemeClr val="bg1"/>
                </a:solidFill>
              </a:defRPr>
            </a:lvl5pPr>
          </a:lstStyle>
          <a:p>
            <a:pPr lvl="0"/>
            <a:r>
              <a:rPr lang="nb-NO"/>
              <a:t>Rediger tekststiler i malen</a:t>
            </a:r>
          </a:p>
        </p:txBody>
      </p:sp>
      <p:sp>
        <p:nvSpPr>
          <p:cNvPr id="7" name="Plassholder for innhold 6"/>
          <p:cNvSpPr>
            <a:spLocks noGrp="1"/>
          </p:cNvSpPr>
          <p:nvPr>
            <p:ph sz="quarter" idx="17" hasCustomPrompt="1"/>
          </p:nvPr>
        </p:nvSpPr>
        <p:spPr>
          <a:xfrm>
            <a:off x="913917" y="4861854"/>
            <a:ext cx="10364168" cy="400415"/>
          </a:xfrm>
        </p:spPr>
        <p:txBody>
          <a:bodyPr>
            <a:spAutoFit/>
          </a:bodyPr>
          <a:lstStyle>
            <a:lvl1pPr marL="0" indent="0" algn="ctr">
              <a:buNone/>
              <a:defRPr/>
            </a:lvl1pPr>
          </a:lstStyle>
          <a:p>
            <a:pPr lvl="0"/>
            <a:r>
              <a:rPr lang="nb-NO" dirty="0"/>
              <a:t>Arrangement og sted</a:t>
            </a:r>
          </a:p>
        </p:txBody>
      </p:sp>
      <p:sp>
        <p:nvSpPr>
          <p:cNvPr id="9" name="Ellipse 8">
            <a:extLst>
              <a:ext uri="{FF2B5EF4-FFF2-40B4-BE49-F238E27FC236}">
                <a16:creationId xmlns:a16="http://schemas.microsoft.com/office/drawing/2014/main" id="{77AE7204-EE82-4068-81B3-CC990B126963}"/>
              </a:ext>
            </a:extLst>
          </p:cNvPr>
          <p:cNvSpPr/>
          <p:nvPr userDrawn="1"/>
        </p:nvSpPr>
        <p:spPr>
          <a:xfrm>
            <a:off x="10758710" y="344255"/>
            <a:ext cx="1012654" cy="10126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66"/>
          </a:p>
        </p:txBody>
      </p:sp>
      <p:pic>
        <p:nvPicPr>
          <p:cNvPr id="10" name="Bilde 9">
            <a:extLst>
              <a:ext uri="{FF2B5EF4-FFF2-40B4-BE49-F238E27FC236}">
                <a16:creationId xmlns:a16="http://schemas.microsoft.com/office/drawing/2014/main" id="{B3183C7A-A577-4026-A3D2-14F5C7493A9E}"/>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758710" y="344255"/>
            <a:ext cx="1012654" cy="1012665"/>
          </a:xfrm>
          <a:prstGeom prst="rect">
            <a:avLst/>
          </a:prstGeom>
        </p:spPr>
      </p:pic>
    </p:spTree>
    <p:extLst>
      <p:ext uri="{BB962C8B-B14F-4D97-AF65-F5344CB8AC3E}">
        <p14:creationId xmlns:p14="http://schemas.microsoft.com/office/powerpoint/2010/main" val="35590031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Content Placeholder 2"/>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r>
              <a:rPr lang="nb-NO"/>
              <a:t>Dato</a:t>
            </a:r>
          </a:p>
        </p:txBody>
      </p:sp>
      <p:sp>
        <p:nvSpPr>
          <p:cNvPr id="6" name="Slide Number Placeholder 5"/>
          <p:cNvSpPr>
            <a:spLocks noGrp="1"/>
          </p:cNvSpPr>
          <p:nvPr>
            <p:ph type="sldNum" sz="quarter" idx="12"/>
          </p:nvPr>
        </p:nvSpPr>
        <p:spPr/>
        <p:txBody>
          <a:bodyPr/>
          <a:lstStyle/>
          <a:p>
            <a:fld id="{D5DAC896-3290-4F14-BAAE-6BA5F8CCFA8A}" type="slidenum">
              <a:rPr lang="nb-NO" smtClean="0"/>
              <a:t>‹#›</a:t>
            </a:fld>
            <a:endParaRPr lang="nb-NO"/>
          </a:p>
        </p:txBody>
      </p:sp>
      <p:sp>
        <p:nvSpPr>
          <p:cNvPr id="8" name="Plassholder for tekst 7">
            <a:extLst>
              <a:ext uri="{FF2B5EF4-FFF2-40B4-BE49-F238E27FC236}">
                <a16:creationId xmlns:a16="http://schemas.microsoft.com/office/drawing/2014/main" id="{77928EF2-103F-4C47-A62A-EA181BEF62DC}"/>
              </a:ext>
            </a:extLst>
          </p:cNvPr>
          <p:cNvSpPr>
            <a:spLocks noGrp="1"/>
          </p:cNvSpPr>
          <p:nvPr>
            <p:ph type="body" sz="quarter" idx="13" hasCustomPrompt="1"/>
          </p:nvPr>
        </p:nvSpPr>
        <p:spPr>
          <a:xfrm>
            <a:off x="1350035" y="1571425"/>
            <a:ext cx="8945950" cy="772107"/>
          </a:xfrm>
        </p:spPr>
        <p:txBody>
          <a:bodyPr>
            <a:noAutofit/>
          </a:bodyPr>
          <a:lstStyle>
            <a:lvl1pPr marL="0" indent="0">
              <a:buNone/>
              <a:defRPr sz="2602" b="1"/>
            </a:lvl1pPr>
          </a:lstStyle>
          <a:p>
            <a:pPr lvl="0"/>
            <a:r>
              <a:rPr lang="nb-NO" dirty="0"/>
              <a:t>Ingress</a:t>
            </a:r>
          </a:p>
        </p:txBody>
      </p:sp>
    </p:spTree>
    <p:extLst>
      <p:ext uri="{BB962C8B-B14F-4D97-AF65-F5344CB8AC3E}">
        <p14:creationId xmlns:p14="http://schemas.microsoft.com/office/powerpoint/2010/main" val="26390837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og innhold (uten ingres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Content Placeholder 2"/>
          <p:cNvSpPr>
            <a:spLocks noGrp="1"/>
          </p:cNvSpPr>
          <p:nvPr>
            <p:ph idx="1"/>
          </p:nvPr>
        </p:nvSpPr>
        <p:spPr>
          <a:xfrm>
            <a:off x="1350335" y="1571425"/>
            <a:ext cx="8945950" cy="4605541"/>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r>
              <a:rPr lang="nb-NO"/>
              <a:t>Dato</a:t>
            </a:r>
          </a:p>
        </p:txBody>
      </p:sp>
      <p:sp>
        <p:nvSpPr>
          <p:cNvPr id="6" name="Slide Number Placeholder 5"/>
          <p:cNvSpPr>
            <a:spLocks noGrp="1"/>
          </p:cNvSpPr>
          <p:nvPr>
            <p:ph type="sldNum" sz="quarter" idx="12"/>
          </p:nvPr>
        </p:nvSpPr>
        <p:spPr/>
        <p:txBody>
          <a:bodyPr/>
          <a:lstStyle/>
          <a:p>
            <a:fld id="{D5DAC896-3290-4F14-BAAE-6BA5F8CCFA8A}" type="slidenum">
              <a:rPr lang="nb-NO" smtClean="0"/>
              <a:t>‹#›</a:t>
            </a:fld>
            <a:endParaRPr lang="nb-NO"/>
          </a:p>
        </p:txBody>
      </p:sp>
    </p:spTree>
    <p:extLst>
      <p:ext uri="{BB962C8B-B14F-4D97-AF65-F5344CB8AC3E}">
        <p14:creationId xmlns:p14="http://schemas.microsoft.com/office/powerpoint/2010/main" val="10783017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Mellomside">
    <p:bg>
      <p:bgPr>
        <a:solidFill>
          <a:schemeClr val="lt1"/>
        </a:solidFill>
        <a:effectLst/>
      </p:bgPr>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BE8CFCFC-AD0C-4D0E-89F0-6E49B06BA629}"/>
              </a:ext>
            </a:extLst>
          </p:cNvPr>
          <p:cNvSpPr/>
          <p:nvPr userDrawn="1"/>
        </p:nvSpPr>
        <p:spPr>
          <a:xfrm>
            <a:off x="168793" y="126603"/>
            <a:ext cx="11854403" cy="63805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66"/>
          </a:p>
        </p:txBody>
      </p:sp>
      <p:sp>
        <p:nvSpPr>
          <p:cNvPr id="2" name="Date Placeholder 1"/>
          <p:cNvSpPr>
            <a:spLocks noGrp="1"/>
          </p:cNvSpPr>
          <p:nvPr>
            <p:ph type="dt" sz="half" idx="10"/>
          </p:nvPr>
        </p:nvSpPr>
        <p:spPr/>
        <p:txBody>
          <a:bodyPr/>
          <a:lstStyle>
            <a:lvl1pPr>
              <a:defRPr>
                <a:solidFill>
                  <a:schemeClr val="dk1"/>
                </a:solidFill>
              </a:defRPr>
            </a:lvl1pPr>
          </a:lstStyle>
          <a:p>
            <a:r>
              <a:rPr lang="nb-NO"/>
              <a:t>Dato</a:t>
            </a:r>
          </a:p>
        </p:txBody>
      </p:sp>
      <p:sp>
        <p:nvSpPr>
          <p:cNvPr id="4" name="Slide Number Placeholder 3"/>
          <p:cNvSpPr>
            <a:spLocks noGrp="1"/>
          </p:cNvSpPr>
          <p:nvPr>
            <p:ph type="sldNum" sz="quarter" idx="12"/>
          </p:nvPr>
        </p:nvSpPr>
        <p:spPr/>
        <p:txBody>
          <a:bodyPr/>
          <a:lstStyle>
            <a:lvl1pPr>
              <a:defRPr>
                <a:solidFill>
                  <a:schemeClr val="dk1"/>
                </a:solidFill>
              </a:defRPr>
            </a:lvl1pPr>
          </a:lstStyle>
          <a:p>
            <a:fld id="{D5DAC896-3290-4F14-BAAE-6BA5F8CCFA8A}" type="slidenum">
              <a:rPr lang="nb-NO" smtClean="0"/>
              <a:pPr/>
              <a:t>‹#›</a:t>
            </a:fld>
            <a:endParaRPr lang="nb-NO"/>
          </a:p>
        </p:txBody>
      </p:sp>
      <p:cxnSp>
        <p:nvCxnSpPr>
          <p:cNvPr id="8" name="Rett linje 7">
            <a:extLst>
              <a:ext uri="{FF2B5EF4-FFF2-40B4-BE49-F238E27FC236}">
                <a16:creationId xmlns:a16="http://schemas.microsoft.com/office/drawing/2014/main" id="{4CB0DF7C-63EC-413A-A5D3-B0D3FEEC84D7}"/>
              </a:ext>
            </a:extLst>
          </p:cNvPr>
          <p:cNvCxnSpPr/>
          <p:nvPr userDrawn="1"/>
        </p:nvCxnSpPr>
        <p:spPr>
          <a:xfrm>
            <a:off x="410176" y="6644201"/>
            <a:ext cx="0" cy="1082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Bilde 9">
            <a:extLst>
              <a:ext uri="{FF2B5EF4-FFF2-40B4-BE49-F238E27FC236}">
                <a16:creationId xmlns:a16="http://schemas.microsoft.com/office/drawing/2014/main" id="{A4605B23-F521-435D-A1C3-86C869A8935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4692036" y="2521237"/>
            <a:ext cx="2807928" cy="1815526"/>
          </a:xfrm>
          <a:prstGeom prst="rect">
            <a:avLst/>
          </a:prstGeom>
        </p:spPr>
      </p:pic>
      <p:pic>
        <p:nvPicPr>
          <p:cNvPr id="11" name="Bilde 10">
            <a:extLst>
              <a:ext uri="{FF2B5EF4-FFF2-40B4-BE49-F238E27FC236}">
                <a16:creationId xmlns:a16="http://schemas.microsoft.com/office/drawing/2014/main" id="{924479DA-9E77-482F-B749-51FABD45D547}"/>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l="47291"/>
          <a:stretch/>
        </p:blipFill>
        <p:spPr>
          <a:xfrm>
            <a:off x="9147182" y="6538622"/>
            <a:ext cx="3044818" cy="319378"/>
          </a:xfrm>
          <a:prstGeom prst="rect">
            <a:avLst/>
          </a:prstGeom>
        </p:spPr>
      </p:pic>
      <p:pic>
        <p:nvPicPr>
          <p:cNvPr id="12" name="Bilde 11">
            <a:extLst>
              <a:ext uri="{FF2B5EF4-FFF2-40B4-BE49-F238E27FC236}">
                <a16:creationId xmlns:a16="http://schemas.microsoft.com/office/drawing/2014/main" id="{39CE7CF4-4E1E-4E39-92C9-DBCBD10CA31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4983540" y="6617793"/>
            <a:ext cx="2224907" cy="113604"/>
          </a:xfrm>
          <a:prstGeom prst="rect">
            <a:avLst/>
          </a:prstGeom>
        </p:spPr>
      </p:pic>
    </p:spTree>
    <p:extLst>
      <p:ext uri="{BB962C8B-B14F-4D97-AF65-F5344CB8AC3E}">
        <p14:creationId xmlns:p14="http://schemas.microsoft.com/office/powerpoint/2010/main" val="24572228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Deloverskrift">
    <p:bg>
      <p:bgPr>
        <a:solidFill>
          <a:schemeClr val="lt1"/>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7DAC0AFD-A0A0-4165-A09D-E8CA745C8F63}"/>
              </a:ext>
            </a:extLst>
          </p:cNvPr>
          <p:cNvSpPr/>
          <p:nvPr userDrawn="1"/>
        </p:nvSpPr>
        <p:spPr>
          <a:xfrm>
            <a:off x="168793" y="126603"/>
            <a:ext cx="11854403" cy="63805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66"/>
          </a:p>
        </p:txBody>
      </p:sp>
      <p:sp>
        <p:nvSpPr>
          <p:cNvPr id="2" name="Title 1"/>
          <p:cNvSpPr>
            <a:spLocks noGrp="1"/>
          </p:cNvSpPr>
          <p:nvPr>
            <p:ph type="title"/>
          </p:nvPr>
        </p:nvSpPr>
        <p:spPr>
          <a:xfrm>
            <a:off x="831852" y="2860719"/>
            <a:ext cx="10515600" cy="584390"/>
          </a:xfrm>
        </p:spPr>
        <p:txBody>
          <a:bodyPr anchor="b">
            <a:spAutoFit/>
          </a:bodyPr>
          <a:lstStyle>
            <a:lvl1pPr algn="ctr">
              <a:defRPr sz="3797">
                <a:solidFill>
                  <a:schemeClr val="lt1"/>
                </a:solidFill>
              </a:defRPr>
            </a:lvl1pPr>
          </a:lstStyle>
          <a:p>
            <a:r>
              <a:rPr lang="nb-NO"/>
              <a:t>Klikk for å redigere tittelstil</a:t>
            </a:r>
            <a:endParaRPr lang="en-US" dirty="0"/>
          </a:p>
        </p:txBody>
      </p:sp>
      <p:sp>
        <p:nvSpPr>
          <p:cNvPr id="3" name="Text Placeholder 2"/>
          <p:cNvSpPr>
            <a:spLocks noGrp="1"/>
          </p:cNvSpPr>
          <p:nvPr>
            <p:ph type="body" idx="1"/>
          </p:nvPr>
        </p:nvSpPr>
        <p:spPr>
          <a:xfrm>
            <a:off x="831852" y="3455152"/>
            <a:ext cx="10515600" cy="584390"/>
          </a:xfrm>
        </p:spPr>
        <p:txBody>
          <a:bodyPr>
            <a:spAutoFit/>
          </a:bodyPr>
          <a:lstStyle>
            <a:lvl1pPr marL="0" indent="0" algn="ctr">
              <a:buNone/>
              <a:defRPr sz="3797">
                <a:solidFill>
                  <a:schemeClr val="lt1"/>
                </a:solidFill>
              </a:defRPr>
            </a:lvl1pPr>
            <a:lvl2pPr marL="457166" indent="0">
              <a:buNone/>
              <a:defRPr sz="2000">
                <a:solidFill>
                  <a:schemeClr val="tx1">
                    <a:tint val="75000"/>
                  </a:schemeClr>
                </a:solidFill>
              </a:defRPr>
            </a:lvl2pPr>
            <a:lvl3pPr marL="914332" indent="0">
              <a:buNone/>
              <a:defRPr sz="1800">
                <a:solidFill>
                  <a:schemeClr val="tx1">
                    <a:tint val="75000"/>
                  </a:schemeClr>
                </a:solidFill>
              </a:defRPr>
            </a:lvl3pPr>
            <a:lvl4pPr marL="1371497"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5" indent="0">
              <a:buNone/>
              <a:defRPr sz="1600">
                <a:solidFill>
                  <a:schemeClr val="tx1">
                    <a:tint val="75000"/>
                  </a:schemeClr>
                </a:solidFill>
              </a:defRPr>
            </a:lvl7pPr>
            <a:lvl8pPr marL="3200161"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nb-NO"/>
              <a:t>Rediger tekststiler i malen</a:t>
            </a:r>
          </a:p>
        </p:txBody>
      </p:sp>
      <p:sp>
        <p:nvSpPr>
          <p:cNvPr id="4" name="Date Placeholder 3"/>
          <p:cNvSpPr>
            <a:spLocks noGrp="1"/>
          </p:cNvSpPr>
          <p:nvPr>
            <p:ph type="dt" sz="half" idx="10"/>
          </p:nvPr>
        </p:nvSpPr>
        <p:spPr/>
        <p:txBody>
          <a:bodyPr/>
          <a:lstStyle>
            <a:lvl1pPr>
              <a:defRPr>
                <a:solidFill>
                  <a:schemeClr val="dk1"/>
                </a:solidFill>
              </a:defRPr>
            </a:lvl1pPr>
          </a:lstStyle>
          <a:p>
            <a:r>
              <a:rPr lang="nb-NO"/>
              <a:t>Dato</a:t>
            </a:r>
          </a:p>
        </p:txBody>
      </p:sp>
      <p:sp>
        <p:nvSpPr>
          <p:cNvPr id="6" name="Slide Number Placeholder 5"/>
          <p:cNvSpPr>
            <a:spLocks noGrp="1"/>
          </p:cNvSpPr>
          <p:nvPr>
            <p:ph type="sldNum" sz="quarter" idx="12"/>
          </p:nvPr>
        </p:nvSpPr>
        <p:spPr/>
        <p:txBody>
          <a:bodyPr/>
          <a:lstStyle>
            <a:lvl1pPr>
              <a:defRPr>
                <a:solidFill>
                  <a:schemeClr val="dk1"/>
                </a:solidFill>
              </a:defRPr>
            </a:lvl1pPr>
          </a:lstStyle>
          <a:p>
            <a:fld id="{D5DAC896-3290-4F14-BAAE-6BA5F8CCFA8A}" type="slidenum">
              <a:rPr lang="nb-NO" smtClean="0"/>
              <a:pPr/>
              <a:t>‹#›</a:t>
            </a:fld>
            <a:endParaRPr lang="nb-NO"/>
          </a:p>
        </p:txBody>
      </p:sp>
      <p:cxnSp>
        <p:nvCxnSpPr>
          <p:cNvPr id="12" name="Rett linje 11">
            <a:extLst>
              <a:ext uri="{FF2B5EF4-FFF2-40B4-BE49-F238E27FC236}">
                <a16:creationId xmlns:a16="http://schemas.microsoft.com/office/drawing/2014/main" id="{D3B42DDA-8EFD-4B16-8A49-1565A3F39BC2}"/>
              </a:ext>
            </a:extLst>
          </p:cNvPr>
          <p:cNvCxnSpPr/>
          <p:nvPr userDrawn="1"/>
        </p:nvCxnSpPr>
        <p:spPr>
          <a:xfrm>
            <a:off x="410176" y="6644201"/>
            <a:ext cx="0" cy="1082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9" name="Bilde 8">
            <a:extLst>
              <a:ext uri="{FF2B5EF4-FFF2-40B4-BE49-F238E27FC236}">
                <a16:creationId xmlns:a16="http://schemas.microsoft.com/office/drawing/2014/main" id="{1D65297D-FE51-4C1A-8FF0-8D710695D7F3}"/>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47291"/>
          <a:stretch/>
        </p:blipFill>
        <p:spPr>
          <a:xfrm>
            <a:off x="9147182" y="6538622"/>
            <a:ext cx="3044818" cy="319378"/>
          </a:xfrm>
          <a:prstGeom prst="rect">
            <a:avLst/>
          </a:prstGeom>
        </p:spPr>
      </p:pic>
      <p:pic>
        <p:nvPicPr>
          <p:cNvPr id="10" name="Bilde 9">
            <a:extLst>
              <a:ext uri="{FF2B5EF4-FFF2-40B4-BE49-F238E27FC236}">
                <a16:creationId xmlns:a16="http://schemas.microsoft.com/office/drawing/2014/main" id="{98BBE067-CB41-4B13-BB45-85EAB4D9591C}"/>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4983540" y="6617793"/>
            <a:ext cx="2224907" cy="113604"/>
          </a:xfrm>
          <a:prstGeom prst="rect">
            <a:avLst/>
          </a:prstGeom>
        </p:spPr>
      </p:pic>
    </p:spTree>
    <p:extLst>
      <p:ext uri="{BB962C8B-B14F-4D97-AF65-F5344CB8AC3E}">
        <p14:creationId xmlns:p14="http://schemas.microsoft.com/office/powerpoint/2010/main" val="12141380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ilde, tittel og tekst">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2263A8B9-16D7-422B-AA44-1245FB19D128}"/>
              </a:ext>
            </a:extLst>
          </p:cNvPr>
          <p:cNvSpPr>
            <a:spLocks noGrp="1"/>
          </p:cNvSpPr>
          <p:nvPr>
            <p:ph type="pic" sz="quarter" idx="13"/>
          </p:nvPr>
        </p:nvSpPr>
        <p:spPr>
          <a:xfrm>
            <a:off x="168792" y="126601"/>
            <a:ext cx="11855928" cy="2658569"/>
          </a:xfrm>
        </p:spPr>
        <p:txBody>
          <a:bodyPr/>
          <a:lstStyle/>
          <a:p>
            <a:r>
              <a:rPr lang="nb-NO"/>
              <a:t>Klikk ikonet for å legge til et bilde</a:t>
            </a:r>
          </a:p>
        </p:txBody>
      </p:sp>
      <p:sp>
        <p:nvSpPr>
          <p:cNvPr id="10" name="Rektangel 9">
            <a:extLst>
              <a:ext uri="{FF2B5EF4-FFF2-40B4-BE49-F238E27FC236}">
                <a16:creationId xmlns:a16="http://schemas.microsoft.com/office/drawing/2014/main" id="{C2E28AF3-910C-4B39-B2C6-0E6552096922}"/>
              </a:ext>
            </a:extLst>
          </p:cNvPr>
          <p:cNvSpPr/>
          <p:nvPr userDrawn="1"/>
        </p:nvSpPr>
        <p:spPr>
          <a:xfrm>
            <a:off x="1" y="6517314"/>
            <a:ext cx="12192000" cy="3406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66"/>
          </a:p>
        </p:txBody>
      </p:sp>
      <p:sp>
        <p:nvSpPr>
          <p:cNvPr id="2" name="Title 1"/>
          <p:cNvSpPr>
            <a:spLocks noGrp="1"/>
          </p:cNvSpPr>
          <p:nvPr>
            <p:ph type="title"/>
          </p:nvPr>
        </p:nvSpPr>
        <p:spPr>
          <a:xfrm>
            <a:off x="1350334" y="3211864"/>
            <a:ext cx="8945949" cy="584390"/>
          </a:xfrm>
        </p:spPr>
        <p:txBody>
          <a:bodyPr>
            <a:spAutoFit/>
          </a:bodyPr>
          <a:lstStyle/>
          <a:p>
            <a:r>
              <a:rPr lang="nb-NO"/>
              <a:t>Klikk for å redigere tittelstil</a:t>
            </a:r>
            <a:endParaRPr lang="en-US" dirty="0"/>
          </a:p>
        </p:txBody>
      </p:sp>
      <p:sp>
        <p:nvSpPr>
          <p:cNvPr id="3" name="Content Placeholder 2"/>
          <p:cNvSpPr>
            <a:spLocks noGrp="1"/>
          </p:cNvSpPr>
          <p:nvPr>
            <p:ph idx="1"/>
          </p:nvPr>
        </p:nvSpPr>
        <p:spPr>
          <a:xfrm>
            <a:off x="1350335" y="4022587"/>
            <a:ext cx="8945950" cy="2154377"/>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r>
              <a:rPr lang="nb-NO"/>
              <a:t>Dato</a:t>
            </a:r>
          </a:p>
        </p:txBody>
      </p:sp>
      <p:sp>
        <p:nvSpPr>
          <p:cNvPr id="6" name="Slide Number Placeholder 5"/>
          <p:cNvSpPr>
            <a:spLocks noGrp="1"/>
          </p:cNvSpPr>
          <p:nvPr>
            <p:ph type="sldNum" sz="quarter" idx="12"/>
          </p:nvPr>
        </p:nvSpPr>
        <p:spPr/>
        <p:txBody>
          <a:bodyPr/>
          <a:lstStyle/>
          <a:p>
            <a:fld id="{D5DAC896-3290-4F14-BAAE-6BA5F8CCFA8A}" type="slidenum">
              <a:rPr lang="nb-NO" smtClean="0"/>
              <a:t>‹#›</a:t>
            </a:fld>
            <a:endParaRPr lang="nb-NO"/>
          </a:p>
        </p:txBody>
      </p:sp>
      <p:cxnSp>
        <p:nvCxnSpPr>
          <p:cNvPr id="18" name="Rett linje 17">
            <a:extLst>
              <a:ext uri="{FF2B5EF4-FFF2-40B4-BE49-F238E27FC236}">
                <a16:creationId xmlns:a16="http://schemas.microsoft.com/office/drawing/2014/main" id="{A0B9A65C-120D-44A5-B4E1-898D63953076}"/>
              </a:ext>
            </a:extLst>
          </p:cNvPr>
          <p:cNvCxnSpPr/>
          <p:nvPr userDrawn="1"/>
        </p:nvCxnSpPr>
        <p:spPr>
          <a:xfrm>
            <a:off x="410176" y="6644201"/>
            <a:ext cx="0" cy="108220"/>
          </a:xfrm>
          <a:prstGeom prst="line">
            <a:avLst/>
          </a:prstGeom>
          <a:ln w="12700">
            <a:solidFill>
              <a:schemeClr val="lt1"/>
            </a:solidFill>
          </a:ln>
        </p:spPr>
        <p:style>
          <a:lnRef idx="1">
            <a:schemeClr val="accent1"/>
          </a:lnRef>
          <a:fillRef idx="0">
            <a:schemeClr val="accent1"/>
          </a:fillRef>
          <a:effectRef idx="0">
            <a:schemeClr val="accent1"/>
          </a:effectRef>
          <a:fontRef idx="minor">
            <a:schemeClr val="tx1"/>
          </a:fontRef>
        </p:style>
      </p:cxnSp>
      <p:sp>
        <p:nvSpPr>
          <p:cNvPr id="12" name="Plassholder for tekst 15">
            <a:extLst>
              <a:ext uri="{FF2B5EF4-FFF2-40B4-BE49-F238E27FC236}">
                <a16:creationId xmlns:a16="http://schemas.microsoft.com/office/drawing/2014/main" id="{704CC97B-3881-47E4-A14F-D65AB42ED39A}"/>
              </a:ext>
            </a:extLst>
          </p:cNvPr>
          <p:cNvSpPr>
            <a:spLocks noGrp="1"/>
          </p:cNvSpPr>
          <p:nvPr>
            <p:ph type="body" sz="quarter" idx="17" hasCustomPrompt="1"/>
          </p:nvPr>
        </p:nvSpPr>
        <p:spPr>
          <a:xfrm>
            <a:off x="10758710" y="344255"/>
            <a:ext cx="1012654" cy="1012665"/>
          </a:xfrm>
          <a:prstGeom prst="ellipse">
            <a:avLst/>
          </a:prstGeom>
          <a:solidFill>
            <a:srgbClr val="005F64">
              <a:alpha val="69804"/>
            </a:srgbClr>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3" name="Plassholder for tekst 15">
            <a:extLst>
              <a:ext uri="{FF2B5EF4-FFF2-40B4-BE49-F238E27FC236}">
                <a16:creationId xmlns:a16="http://schemas.microsoft.com/office/drawing/2014/main" id="{01F19E00-B936-4049-8A25-1690992439D2}"/>
              </a:ext>
            </a:extLst>
          </p:cNvPr>
          <p:cNvSpPr>
            <a:spLocks noGrp="1"/>
          </p:cNvSpPr>
          <p:nvPr>
            <p:ph type="body" sz="quarter" idx="18" hasCustomPrompt="1"/>
          </p:nvPr>
        </p:nvSpPr>
        <p:spPr>
          <a:xfrm>
            <a:off x="10758710" y="344255"/>
            <a:ext cx="1012654" cy="1012665"/>
          </a:xfrm>
          <a:prstGeom prst="ellipse">
            <a:avLst/>
          </a:prstGeom>
          <a:blipFill dpi="0" rotWithShape="1">
            <a:blip r:embed="rId2"/>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pic>
        <p:nvPicPr>
          <p:cNvPr id="14" name="Bilde 13">
            <a:extLst>
              <a:ext uri="{FF2B5EF4-FFF2-40B4-BE49-F238E27FC236}">
                <a16:creationId xmlns:a16="http://schemas.microsoft.com/office/drawing/2014/main" id="{AE5218B0-0F5E-4AE0-97FB-2D3D916CA095}"/>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99819" y="6592209"/>
            <a:ext cx="2692181" cy="265791"/>
          </a:xfrm>
          <a:prstGeom prst="rect">
            <a:avLst/>
          </a:prstGeom>
        </p:spPr>
      </p:pic>
    </p:spTree>
    <p:extLst>
      <p:ext uri="{BB962C8B-B14F-4D97-AF65-F5344CB8AC3E}">
        <p14:creationId xmlns:p14="http://schemas.microsoft.com/office/powerpoint/2010/main" val="10502595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tel, ingress, bilde og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4" name="Date Placeholder 3"/>
          <p:cNvSpPr>
            <a:spLocks noGrp="1"/>
          </p:cNvSpPr>
          <p:nvPr>
            <p:ph type="dt" sz="half" idx="10"/>
          </p:nvPr>
        </p:nvSpPr>
        <p:spPr/>
        <p:txBody>
          <a:bodyPr/>
          <a:lstStyle/>
          <a:p>
            <a:r>
              <a:rPr lang="nb-NO"/>
              <a:t>Dato</a:t>
            </a:r>
          </a:p>
        </p:txBody>
      </p:sp>
      <p:sp>
        <p:nvSpPr>
          <p:cNvPr id="6" name="Slide Number Placeholder 5"/>
          <p:cNvSpPr>
            <a:spLocks noGrp="1"/>
          </p:cNvSpPr>
          <p:nvPr>
            <p:ph type="sldNum" sz="quarter" idx="12"/>
          </p:nvPr>
        </p:nvSpPr>
        <p:spPr/>
        <p:txBody>
          <a:bodyPr/>
          <a:lstStyle/>
          <a:p>
            <a:fld id="{D5DAC896-3290-4F14-BAAE-6BA5F8CCFA8A}" type="slidenum">
              <a:rPr lang="nb-NO" smtClean="0"/>
              <a:t>‹#›</a:t>
            </a:fld>
            <a:endParaRPr lang="nb-NO"/>
          </a:p>
        </p:txBody>
      </p:sp>
      <p:sp>
        <p:nvSpPr>
          <p:cNvPr id="8" name="Plassholder for tekst 7">
            <a:extLst>
              <a:ext uri="{FF2B5EF4-FFF2-40B4-BE49-F238E27FC236}">
                <a16:creationId xmlns:a16="http://schemas.microsoft.com/office/drawing/2014/main" id="{77928EF2-103F-4C47-A62A-EA181BEF62DC}"/>
              </a:ext>
            </a:extLst>
          </p:cNvPr>
          <p:cNvSpPr>
            <a:spLocks noGrp="1"/>
          </p:cNvSpPr>
          <p:nvPr>
            <p:ph type="body" sz="quarter" idx="13" hasCustomPrompt="1"/>
          </p:nvPr>
        </p:nvSpPr>
        <p:spPr>
          <a:xfrm>
            <a:off x="1350035" y="1571425"/>
            <a:ext cx="8945950" cy="772107"/>
          </a:xfrm>
        </p:spPr>
        <p:txBody>
          <a:bodyPr>
            <a:noAutofit/>
          </a:bodyPr>
          <a:lstStyle>
            <a:lvl1pPr marL="0" indent="0">
              <a:buNone/>
              <a:defRPr sz="2602" b="1"/>
            </a:lvl1pPr>
          </a:lstStyle>
          <a:p>
            <a:pPr lvl="0"/>
            <a:r>
              <a:rPr lang="nb-NO" dirty="0"/>
              <a:t>Ingress</a:t>
            </a:r>
          </a:p>
        </p:txBody>
      </p:sp>
      <p:sp>
        <p:nvSpPr>
          <p:cNvPr id="10" name="Plassholder for bilde 9">
            <a:extLst>
              <a:ext uri="{FF2B5EF4-FFF2-40B4-BE49-F238E27FC236}">
                <a16:creationId xmlns:a16="http://schemas.microsoft.com/office/drawing/2014/main" id="{A91273AD-E16D-4FA6-A765-406B2671A9FD}"/>
              </a:ext>
            </a:extLst>
          </p:cNvPr>
          <p:cNvSpPr>
            <a:spLocks noGrp="1"/>
          </p:cNvSpPr>
          <p:nvPr>
            <p:ph type="pic" sz="quarter" idx="14"/>
          </p:nvPr>
        </p:nvSpPr>
        <p:spPr>
          <a:xfrm>
            <a:off x="1350036" y="2466147"/>
            <a:ext cx="4321365" cy="2534213"/>
          </a:xfrm>
        </p:spPr>
        <p:txBody>
          <a:bodyPr/>
          <a:lstStyle/>
          <a:p>
            <a:r>
              <a:rPr lang="nb-NO"/>
              <a:t>Klikk ikonet for å legge til et bilde</a:t>
            </a:r>
            <a:endParaRPr lang="nb-NO" dirty="0"/>
          </a:p>
        </p:txBody>
      </p:sp>
      <p:sp>
        <p:nvSpPr>
          <p:cNvPr id="13" name="Content Placeholder 2">
            <a:extLst>
              <a:ext uri="{FF2B5EF4-FFF2-40B4-BE49-F238E27FC236}">
                <a16:creationId xmlns:a16="http://schemas.microsoft.com/office/drawing/2014/main" id="{CCDAA76C-CA59-4E53-B118-1BE8AF9C7537}"/>
              </a:ext>
            </a:extLst>
          </p:cNvPr>
          <p:cNvSpPr>
            <a:spLocks noGrp="1"/>
          </p:cNvSpPr>
          <p:nvPr>
            <p:ph idx="15"/>
          </p:nvPr>
        </p:nvSpPr>
        <p:spPr>
          <a:xfrm>
            <a:off x="5974918" y="2464998"/>
            <a:ext cx="4321067" cy="371196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Tree>
    <p:extLst>
      <p:ext uri="{BB962C8B-B14F-4D97-AF65-F5344CB8AC3E}">
        <p14:creationId xmlns:p14="http://schemas.microsoft.com/office/powerpoint/2010/main" val="17214351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5" name="Date Placeholder 4"/>
          <p:cNvSpPr>
            <a:spLocks noGrp="1"/>
          </p:cNvSpPr>
          <p:nvPr>
            <p:ph type="dt" sz="half" idx="10"/>
          </p:nvPr>
        </p:nvSpPr>
        <p:spPr/>
        <p:txBody>
          <a:bodyPr/>
          <a:lstStyle/>
          <a:p>
            <a:r>
              <a:rPr lang="nb-NO"/>
              <a:t>Dato</a:t>
            </a:r>
          </a:p>
        </p:txBody>
      </p:sp>
      <p:sp>
        <p:nvSpPr>
          <p:cNvPr id="7" name="Slide Number Placeholder 6"/>
          <p:cNvSpPr>
            <a:spLocks noGrp="1"/>
          </p:cNvSpPr>
          <p:nvPr>
            <p:ph type="sldNum" sz="quarter" idx="12"/>
          </p:nvPr>
        </p:nvSpPr>
        <p:spPr/>
        <p:txBody>
          <a:bodyPr/>
          <a:lstStyle/>
          <a:p>
            <a:fld id="{D5DAC896-3290-4F14-BAAE-6BA5F8CCFA8A}" type="slidenum">
              <a:rPr lang="nb-NO" smtClean="0"/>
              <a:t>‹#›</a:t>
            </a:fld>
            <a:endParaRPr lang="nb-NO"/>
          </a:p>
        </p:txBody>
      </p:sp>
      <p:sp>
        <p:nvSpPr>
          <p:cNvPr id="8" name="Plassholder for tekst 7">
            <a:extLst>
              <a:ext uri="{FF2B5EF4-FFF2-40B4-BE49-F238E27FC236}">
                <a16:creationId xmlns:a16="http://schemas.microsoft.com/office/drawing/2014/main" id="{0F077D80-2445-467A-B6EA-3B1C5BD49298}"/>
              </a:ext>
            </a:extLst>
          </p:cNvPr>
          <p:cNvSpPr>
            <a:spLocks noGrp="1"/>
          </p:cNvSpPr>
          <p:nvPr>
            <p:ph type="body" sz="quarter" idx="13" hasCustomPrompt="1"/>
          </p:nvPr>
        </p:nvSpPr>
        <p:spPr>
          <a:xfrm>
            <a:off x="1350035" y="1571425"/>
            <a:ext cx="8945950" cy="772107"/>
          </a:xfrm>
        </p:spPr>
        <p:txBody>
          <a:bodyPr>
            <a:noAutofit/>
          </a:bodyPr>
          <a:lstStyle>
            <a:lvl1pPr marL="0" indent="0">
              <a:buNone/>
              <a:defRPr sz="2602" b="1"/>
            </a:lvl1pPr>
          </a:lstStyle>
          <a:p>
            <a:pPr lvl="0"/>
            <a:r>
              <a:rPr lang="nb-NO" dirty="0"/>
              <a:t>Ingress</a:t>
            </a:r>
          </a:p>
        </p:txBody>
      </p:sp>
      <p:sp>
        <p:nvSpPr>
          <p:cNvPr id="9" name="Content Placeholder 2">
            <a:extLst>
              <a:ext uri="{FF2B5EF4-FFF2-40B4-BE49-F238E27FC236}">
                <a16:creationId xmlns:a16="http://schemas.microsoft.com/office/drawing/2014/main" id="{241F201A-41B8-4D42-8F28-C24E0164FE92}"/>
              </a:ext>
            </a:extLst>
          </p:cNvPr>
          <p:cNvSpPr>
            <a:spLocks noGrp="1"/>
          </p:cNvSpPr>
          <p:nvPr>
            <p:ph idx="1"/>
          </p:nvPr>
        </p:nvSpPr>
        <p:spPr>
          <a:xfrm>
            <a:off x="1350335" y="2464998"/>
            <a:ext cx="4321067" cy="371196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10" name="Content Placeholder 2">
            <a:extLst>
              <a:ext uri="{FF2B5EF4-FFF2-40B4-BE49-F238E27FC236}">
                <a16:creationId xmlns:a16="http://schemas.microsoft.com/office/drawing/2014/main" id="{29BF4EEF-79FD-4477-B72B-8F0E2E31EE6B}"/>
              </a:ext>
            </a:extLst>
          </p:cNvPr>
          <p:cNvSpPr>
            <a:spLocks noGrp="1"/>
          </p:cNvSpPr>
          <p:nvPr>
            <p:ph idx="14"/>
          </p:nvPr>
        </p:nvSpPr>
        <p:spPr>
          <a:xfrm>
            <a:off x="5974918" y="2464998"/>
            <a:ext cx="4321067" cy="371196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Tree>
    <p:extLst>
      <p:ext uri="{BB962C8B-B14F-4D97-AF65-F5344CB8AC3E}">
        <p14:creationId xmlns:p14="http://schemas.microsoft.com/office/powerpoint/2010/main" val="16980478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 innholdsdeler (uten ingres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5" name="Date Placeholder 4"/>
          <p:cNvSpPr>
            <a:spLocks noGrp="1"/>
          </p:cNvSpPr>
          <p:nvPr>
            <p:ph type="dt" sz="half" idx="10"/>
          </p:nvPr>
        </p:nvSpPr>
        <p:spPr/>
        <p:txBody>
          <a:bodyPr/>
          <a:lstStyle/>
          <a:p>
            <a:r>
              <a:rPr lang="nb-NO"/>
              <a:t>Dato</a:t>
            </a:r>
          </a:p>
        </p:txBody>
      </p:sp>
      <p:sp>
        <p:nvSpPr>
          <p:cNvPr id="7" name="Slide Number Placeholder 6"/>
          <p:cNvSpPr>
            <a:spLocks noGrp="1"/>
          </p:cNvSpPr>
          <p:nvPr>
            <p:ph type="sldNum" sz="quarter" idx="12"/>
          </p:nvPr>
        </p:nvSpPr>
        <p:spPr/>
        <p:txBody>
          <a:bodyPr/>
          <a:lstStyle/>
          <a:p>
            <a:fld id="{D5DAC896-3290-4F14-BAAE-6BA5F8CCFA8A}" type="slidenum">
              <a:rPr lang="nb-NO" smtClean="0"/>
              <a:t>‹#›</a:t>
            </a:fld>
            <a:endParaRPr lang="nb-NO"/>
          </a:p>
        </p:txBody>
      </p:sp>
      <p:sp>
        <p:nvSpPr>
          <p:cNvPr id="9" name="Content Placeholder 2">
            <a:extLst>
              <a:ext uri="{FF2B5EF4-FFF2-40B4-BE49-F238E27FC236}">
                <a16:creationId xmlns:a16="http://schemas.microsoft.com/office/drawing/2014/main" id="{241F201A-41B8-4D42-8F28-C24E0164FE92}"/>
              </a:ext>
            </a:extLst>
          </p:cNvPr>
          <p:cNvSpPr>
            <a:spLocks noGrp="1"/>
          </p:cNvSpPr>
          <p:nvPr>
            <p:ph idx="1"/>
          </p:nvPr>
        </p:nvSpPr>
        <p:spPr>
          <a:xfrm>
            <a:off x="1350335" y="1571425"/>
            <a:ext cx="4321067" cy="4605541"/>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10" name="Content Placeholder 2">
            <a:extLst>
              <a:ext uri="{FF2B5EF4-FFF2-40B4-BE49-F238E27FC236}">
                <a16:creationId xmlns:a16="http://schemas.microsoft.com/office/drawing/2014/main" id="{29BF4EEF-79FD-4477-B72B-8F0E2E31EE6B}"/>
              </a:ext>
            </a:extLst>
          </p:cNvPr>
          <p:cNvSpPr>
            <a:spLocks noGrp="1"/>
          </p:cNvSpPr>
          <p:nvPr>
            <p:ph idx="14"/>
          </p:nvPr>
        </p:nvSpPr>
        <p:spPr>
          <a:xfrm>
            <a:off x="5974918" y="1571425"/>
            <a:ext cx="4321067" cy="4605541"/>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Tree>
    <p:extLst>
      <p:ext uri="{BB962C8B-B14F-4D97-AF65-F5344CB8AC3E}">
        <p14:creationId xmlns:p14="http://schemas.microsoft.com/office/powerpoint/2010/main" val="28678015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4"/>
            </p:custDataLst>
          </p:nvPr>
        </p:nvGraphicFramePr>
        <p:xfrm>
          <a:off x="1587" y="1589"/>
          <a:ext cx="1586" cy="1587"/>
        </p:xfrm>
        <a:graphic>
          <a:graphicData uri="http://schemas.openxmlformats.org/presentationml/2006/ole">
            <mc:AlternateContent xmlns:mc="http://schemas.openxmlformats.org/markup-compatibility/2006">
              <mc:Choice xmlns:v="urn:schemas-microsoft-com:vml" Requires="v">
                <p:oleObj spid="_x0000_s4103" name="think-cell Slide" r:id="rId7" imgW="360" imgH="360" progId="TCLayout.ActiveDocument.1">
                  <p:embed/>
                </p:oleObj>
              </mc:Choice>
              <mc:Fallback>
                <p:oleObj name="think-cell Slide" r:id="rId7" imgW="360" imgH="360" progId="TCLayout.ActiveDocument.1">
                  <p:embed/>
                  <p:pic>
                    <p:nvPicPr>
                      <p:cNvPr id="3" name="Objek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dtTitle 1 Id2"/>
          <p:cNvSpPr>
            <a:spLocks noGrp="1"/>
          </p:cNvSpPr>
          <p:nvPr>
            <p:ph type="title"/>
            <p:custDataLst>
              <p:tags r:id="rId5"/>
            </p:custDataLst>
          </p:nvPr>
        </p:nvSpPr>
        <p:spPr>
          <a:xfrm>
            <a:off x="0" y="1"/>
            <a:ext cx="12192000" cy="1268413"/>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de-DE"/>
              <a:t>Mastertitelformat bearbeiten</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4" name="Group 33"/>
          <p:cNvGrpSpPr>
            <a:grpSpLocks noChangeAspect="1"/>
          </p:cNvGrpSpPr>
          <p:nvPr userDrawn="1"/>
        </p:nvGrpSpPr>
        <p:grpSpPr bwMode="auto">
          <a:xfrm>
            <a:off x="9550189" y="323850"/>
            <a:ext cx="2157876"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grpSp>
      <p:sp>
        <p:nvSpPr>
          <p:cNvPr id="33" name="Textplatzhalter 3"/>
          <p:cNvSpPr>
            <a:spLocks noGrp="1"/>
          </p:cNvSpPr>
          <p:nvPr>
            <p:ph type="body" sz="quarter" idx="11" hasCustomPrompt="1"/>
          </p:nvPr>
        </p:nvSpPr>
        <p:spPr>
          <a:xfrm>
            <a:off x="626736" y="1412875"/>
            <a:ext cx="11082915" cy="215444"/>
          </a:xfrm>
        </p:spPr>
        <p:txBody>
          <a:bodyPr wrap="square">
            <a:spAutoFit/>
          </a:bodyPr>
          <a:lstStyle>
            <a:lvl1pPr>
              <a:defRPr sz="1399"/>
            </a:lvl1pPr>
          </a:lstStyle>
          <a:p>
            <a:pPr lvl="0"/>
            <a:r>
              <a:rPr lang="en-US" noProof="0" dirty="0"/>
              <a:t>Title (description of slide content), Arial 14 </a:t>
            </a:r>
            <a:r>
              <a:rPr lang="en-US" noProof="0" dirty="0" err="1"/>
              <a:t>pt</a:t>
            </a:r>
            <a:r>
              <a:rPr lang="en-US" noProof="0" dirty="0"/>
              <a:t>, maximum of 1 line</a:t>
            </a:r>
          </a:p>
        </p:txBody>
      </p:sp>
    </p:spTree>
    <p:custDataLst>
      <p:custData r:id="rId2"/>
      <p:tags r:id="rId3"/>
    </p:custDataLst>
    <p:extLst>
      <p:ext uri="{BB962C8B-B14F-4D97-AF65-F5344CB8AC3E}">
        <p14:creationId xmlns:p14="http://schemas.microsoft.com/office/powerpoint/2010/main" val="5705732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itat">
    <p:bg>
      <p:bgPr>
        <a:solidFill>
          <a:schemeClr val="lt1"/>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7DAC0AFD-A0A0-4165-A09D-E8CA745C8F63}"/>
              </a:ext>
            </a:extLst>
          </p:cNvPr>
          <p:cNvSpPr/>
          <p:nvPr userDrawn="1"/>
        </p:nvSpPr>
        <p:spPr>
          <a:xfrm>
            <a:off x="168793" y="126603"/>
            <a:ext cx="11854403" cy="63805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66"/>
          </a:p>
        </p:txBody>
      </p:sp>
      <p:sp>
        <p:nvSpPr>
          <p:cNvPr id="2" name="Title 1"/>
          <p:cNvSpPr>
            <a:spLocks noGrp="1"/>
          </p:cNvSpPr>
          <p:nvPr>
            <p:ph type="title"/>
          </p:nvPr>
        </p:nvSpPr>
        <p:spPr>
          <a:xfrm>
            <a:off x="838201" y="2802059"/>
            <a:ext cx="10515600" cy="584390"/>
          </a:xfrm>
        </p:spPr>
        <p:txBody>
          <a:bodyPr anchor="ctr">
            <a:spAutoFit/>
          </a:bodyPr>
          <a:lstStyle>
            <a:lvl1pPr algn="ctr">
              <a:lnSpc>
                <a:spcPct val="100000"/>
              </a:lnSpc>
              <a:defRPr sz="3797">
                <a:solidFill>
                  <a:schemeClr val="lt1"/>
                </a:solidFill>
              </a:defRPr>
            </a:lvl1pPr>
          </a:lstStyle>
          <a:p>
            <a:r>
              <a:rPr lang="nb-NO"/>
              <a:t>Klikk for å redigere tittelstil</a:t>
            </a:r>
            <a:endParaRPr lang="en-US" dirty="0"/>
          </a:p>
        </p:txBody>
      </p:sp>
      <p:pic>
        <p:nvPicPr>
          <p:cNvPr id="8" name="Bilde 7">
            <a:extLst>
              <a:ext uri="{FF2B5EF4-FFF2-40B4-BE49-F238E27FC236}">
                <a16:creationId xmlns:a16="http://schemas.microsoft.com/office/drawing/2014/main" id="{ABD2E6C4-5BFA-470B-8E57-3F6125120A4B}"/>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47291"/>
          <a:stretch/>
        </p:blipFill>
        <p:spPr>
          <a:xfrm>
            <a:off x="9147182" y="6538622"/>
            <a:ext cx="3044818" cy="319378"/>
          </a:xfrm>
          <a:prstGeom prst="rect">
            <a:avLst/>
          </a:prstGeom>
        </p:spPr>
      </p:pic>
      <p:pic>
        <p:nvPicPr>
          <p:cNvPr id="9" name="Bilde 8">
            <a:extLst>
              <a:ext uri="{FF2B5EF4-FFF2-40B4-BE49-F238E27FC236}">
                <a16:creationId xmlns:a16="http://schemas.microsoft.com/office/drawing/2014/main" id="{D3E2C70F-6117-45CF-A704-6BB5CE9F61D5}"/>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4983540" y="6617793"/>
            <a:ext cx="2224907" cy="113604"/>
          </a:xfrm>
          <a:prstGeom prst="rect">
            <a:avLst/>
          </a:prstGeom>
        </p:spPr>
      </p:pic>
      <p:sp>
        <p:nvSpPr>
          <p:cNvPr id="10" name="Date Placeholder 3">
            <a:extLst>
              <a:ext uri="{FF2B5EF4-FFF2-40B4-BE49-F238E27FC236}">
                <a16:creationId xmlns:a16="http://schemas.microsoft.com/office/drawing/2014/main" id="{E13A9F36-52E5-4BE4-B559-B6167736559C}"/>
              </a:ext>
            </a:extLst>
          </p:cNvPr>
          <p:cNvSpPr>
            <a:spLocks noGrp="1"/>
          </p:cNvSpPr>
          <p:nvPr>
            <p:ph type="dt" sz="half" idx="10"/>
          </p:nvPr>
        </p:nvSpPr>
        <p:spPr>
          <a:xfrm>
            <a:off x="498065" y="6633484"/>
            <a:ext cx="2743200" cy="108220"/>
          </a:xfrm>
        </p:spPr>
        <p:txBody>
          <a:bodyPr/>
          <a:lstStyle>
            <a:lvl1pPr>
              <a:defRPr>
                <a:solidFill>
                  <a:schemeClr val="dk1"/>
                </a:solidFill>
              </a:defRPr>
            </a:lvl1pPr>
          </a:lstStyle>
          <a:p>
            <a:r>
              <a:rPr lang="nb-NO"/>
              <a:t>Dato</a:t>
            </a:r>
          </a:p>
        </p:txBody>
      </p:sp>
      <p:sp>
        <p:nvSpPr>
          <p:cNvPr id="11" name="Slide Number Placeholder 5">
            <a:extLst>
              <a:ext uri="{FF2B5EF4-FFF2-40B4-BE49-F238E27FC236}">
                <a16:creationId xmlns:a16="http://schemas.microsoft.com/office/drawing/2014/main" id="{D5CDA8D6-555F-401B-8FA2-920084093FDE}"/>
              </a:ext>
            </a:extLst>
          </p:cNvPr>
          <p:cNvSpPr>
            <a:spLocks noGrp="1"/>
          </p:cNvSpPr>
          <p:nvPr>
            <p:ph type="sldNum" sz="quarter" idx="12"/>
          </p:nvPr>
        </p:nvSpPr>
        <p:spPr>
          <a:xfrm>
            <a:off x="130932" y="6633484"/>
            <a:ext cx="188053" cy="108220"/>
          </a:xfrm>
        </p:spPr>
        <p:txBody>
          <a:bodyPr/>
          <a:lstStyle>
            <a:lvl1pPr>
              <a:defRPr>
                <a:solidFill>
                  <a:schemeClr val="dk1"/>
                </a:solidFill>
              </a:defRPr>
            </a:lvl1pPr>
          </a:lstStyle>
          <a:p>
            <a:fld id="{D5DAC896-3290-4F14-BAAE-6BA5F8CCFA8A}" type="slidenum">
              <a:rPr lang="nb-NO" smtClean="0"/>
              <a:pPr/>
              <a:t>‹#›</a:t>
            </a:fld>
            <a:endParaRPr lang="nb-NO"/>
          </a:p>
        </p:txBody>
      </p:sp>
      <p:cxnSp>
        <p:nvCxnSpPr>
          <p:cNvPr id="12" name="Rett linje 11">
            <a:extLst>
              <a:ext uri="{FF2B5EF4-FFF2-40B4-BE49-F238E27FC236}">
                <a16:creationId xmlns:a16="http://schemas.microsoft.com/office/drawing/2014/main" id="{BA35BC83-5F26-4A2F-9756-70611207302E}"/>
              </a:ext>
            </a:extLst>
          </p:cNvPr>
          <p:cNvCxnSpPr/>
          <p:nvPr userDrawn="1"/>
        </p:nvCxnSpPr>
        <p:spPr>
          <a:xfrm>
            <a:off x="410176" y="6644201"/>
            <a:ext cx="0" cy="1082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05851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Date Placeholder 2"/>
          <p:cNvSpPr>
            <a:spLocks noGrp="1"/>
          </p:cNvSpPr>
          <p:nvPr>
            <p:ph type="dt" sz="half" idx="10"/>
          </p:nvPr>
        </p:nvSpPr>
        <p:spPr/>
        <p:txBody>
          <a:bodyPr/>
          <a:lstStyle/>
          <a:p>
            <a:r>
              <a:rPr lang="nb-NO"/>
              <a:t>Dato</a:t>
            </a:r>
          </a:p>
        </p:txBody>
      </p:sp>
      <p:sp>
        <p:nvSpPr>
          <p:cNvPr id="5" name="Slide Number Placeholder 4"/>
          <p:cNvSpPr>
            <a:spLocks noGrp="1"/>
          </p:cNvSpPr>
          <p:nvPr>
            <p:ph type="sldNum" sz="quarter" idx="12"/>
          </p:nvPr>
        </p:nvSpPr>
        <p:spPr/>
        <p:txBody>
          <a:bodyPr/>
          <a:lstStyle/>
          <a:p>
            <a:fld id="{D5DAC896-3290-4F14-BAAE-6BA5F8CCFA8A}" type="slidenum">
              <a:rPr lang="nb-NO" smtClean="0"/>
              <a:t>‹#›</a:t>
            </a:fld>
            <a:endParaRPr lang="nb-NO"/>
          </a:p>
        </p:txBody>
      </p:sp>
    </p:spTree>
    <p:extLst>
      <p:ext uri="{BB962C8B-B14F-4D97-AF65-F5344CB8AC3E}">
        <p14:creationId xmlns:p14="http://schemas.microsoft.com/office/powerpoint/2010/main" val="20571536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nb-NO"/>
              <a:t>Dato</a:t>
            </a:r>
          </a:p>
        </p:txBody>
      </p:sp>
      <p:sp>
        <p:nvSpPr>
          <p:cNvPr id="4" name="Slide Number Placeholder 3"/>
          <p:cNvSpPr>
            <a:spLocks noGrp="1"/>
          </p:cNvSpPr>
          <p:nvPr>
            <p:ph type="sldNum" sz="quarter" idx="12"/>
          </p:nvPr>
        </p:nvSpPr>
        <p:spPr/>
        <p:txBody>
          <a:bodyPr/>
          <a:lstStyle/>
          <a:p>
            <a:fld id="{D5DAC896-3290-4F14-BAAE-6BA5F8CCFA8A}" type="slidenum">
              <a:rPr lang="nb-NO" smtClean="0"/>
              <a:t>‹#›</a:t>
            </a:fld>
            <a:endParaRPr lang="nb-NO"/>
          </a:p>
        </p:txBody>
      </p:sp>
    </p:spTree>
    <p:extLst>
      <p:ext uri="{BB962C8B-B14F-4D97-AF65-F5344CB8AC3E}">
        <p14:creationId xmlns:p14="http://schemas.microsoft.com/office/powerpoint/2010/main" val="6134292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1_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nb-NO"/>
              <a:t>Dato</a:t>
            </a:r>
          </a:p>
        </p:txBody>
      </p:sp>
      <p:sp>
        <p:nvSpPr>
          <p:cNvPr id="4" name="Slide Number Placeholder 3"/>
          <p:cNvSpPr>
            <a:spLocks noGrp="1"/>
          </p:cNvSpPr>
          <p:nvPr>
            <p:ph type="sldNum" sz="quarter" idx="12"/>
          </p:nvPr>
        </p:nvSpPr>
        <p:spPr/>
        <p:txBody>
          <a:bodyPr/>
          <a:lstStyle/>
          <a:p>
            <a:fld id="{D5DAC896-3290-4F14-BAAE-6BA5F8CCFA8A}" type="slidenum">
              <a:rPr lang="nb-NO" smtClean="0"/>
              <a:t>‹#›</a:t>
            </a:fld>
            <a:endParaRPr lang="nb-NO"/>
          </a:p>
        </p:txBody>
      </p:sp>
    </p:spTree>
    <p:extLst>
      <p:ext uri="{BB962C8B-B14F-4D97-AF65-F5344CB8AC3E}">
        <p14:creationId xmlns:p14="http://schemas.microsoft.com/office/powerpoint/2010/main" val="16699759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lt1"/>
        </a:solidFill>
        <a:effectLst/>
      </p:bgPr>
    </p:bg>
    <p:spTree>
      <p:nvGrpSpPr>
        <p:cNvPr id="1" name=""/>
        <p:cNvGrpSpPr/>
        <p:nvPr/>
      </p:nvGrpSpPr>
      <p:grpSpPr>
        <a:xfrm>
          <a:off x="0" y="0"/>
          <a:ext cx="0" cy="0"/>
          <a:chOff x="0" y="0"/>
          <a:chExt cx="0" cy="0"/>
        </a:xfrm>
      </p:grpSpPr>
      <p:sp>
        <p:nvSpPr>
          <p:cNvPr id="13" name="Plassholder for bilde 12">
            <a:extLst>
              <a:ext uri="{FF2B5EF4-FFF2-40B4-BE49-F238E27FC236}">
                <a16:creationId xmlns:a16="http://schemas.microsoft.com/office/drawing/2014/main" id="{6DB984A3-CCAF-430F-B635-4ABD2578E002}"/>
              </a:ext>
            </a:extLst>
          </p:cNvPr>
          <p:cNvSpPr>
            <a:spLocks noGrp="1"/>
          </p:cNvSpPr>
          <p:nvPr>
            <p:ph type="pic" sz="quarter" idx="13"/>
          </p:nvPr>
        </p:nvSpPr>
        <p:spPr>
          <a:xfrm>
            <a:off x="168794" y="126602"/>
            <a:ext cx="11854403" cy="6380586"/>
          </a:xfrm>
        </p:spPr>
        <p:txBody>
          <a:bodyPr/>
          <a:lstStyle/>
          <a:p>
            <a:r>
              <a:rPr lang="nb-NO"/>
              <a:t>Klikk ikonet for å legge til et bilde</a:t>
            </a:r>
            <a:endParaRPr lang="nb-NO" dirty="0"/>
          </a:p>
        </p:txBody>
      </p:sp>
      <p:sp>
        <p:nvSpPr>
          <p:cNvPr id="4" name="Date Placeholder 3"/>
          <p:cNvSpPr>
            <a:spLocks noGrp="1"/>
          </p:cNvSpPr>
          <p:nvPr>
            <p:ph type="dt" sz="half" idx="10"/>
          </p:nvPr>
        </p:nvSpPr>
        <p:spPr/>
        <p:txBody>
          <a:bodyPr/>
          <a:lstStyle>
            <a:lvl1pPr>
              <a:defRPr>
                <a:solidFill>
                  <a:schemeClr val="dk1"/>
                </a:solidFill>
              </a:defRPr>
            </a:lvl1pPr>
          </a:lstStyle>
          <a:p>
            <a:r>
              <a:rPr lang="nb-NO"/>
              <a:t>Dato</a:t>
            </a:r>
          </a:p>
        </p:txBody>
      </p:sp>
      <p:sp>
        <p:nvSpPr>
          <p:cNvPr id="6" name="Slide Number Placeholder 5"/>
          <p:cNvSpPr>
            <a:spLocks noGrp="1"/>
          </p:cNvSpPr>
          <p:nvPr>
            <p:ph type="sldNum" sz="quarter" idx="12"/>
          </p:nvPr>
        </p:nvSpPr>
        <p:spPr/>
        <p:txBody>
          <a:bodyPr/>
          <a:lstStyle>
            <a:lvl1pPr>
              <a:defRPr>
                <a:solidFill>
                  <a:schemeClr val="dk1"/>
                </a:solidFill>
              </a:defRPr>
            </a:lvl1pPr>
          </a:lstStyle>
          <a:p>
            <a:fld id="{D5DAC896-3290-4F14-BAAE-6BA5F8CCFA8A}" type="slidenum">
              <a:rPr lang="nb-NO" smtClean="0"/>
              <a:pPr/>
              <a:t>‹#›</a:t>
            </a:fld>
            <a:endParaRPr lang="nb-NO" dirty="0"/>
          </a:p>
        </p:txBody>
      </p:sp>
      <p:cxnSp>
        <p:nvCxnSpPr>
          <p:cNvPr id="11" name="Rett linje 10">
            <a:extLst>
              <a:ext uri="{FF2B5EF4-FFF2-40B4-BE49-F238E27FC236}">
                <a16:creationId xmlns:a16="http://schemas.microsoft.com/office/drawing/2014/main" id="{06E9339D-9BBE-4F1C-A7A6-A6BAA9FE87DE}"/>
              </a:ext>
            </a:extLst>
          </p:cNvPr>
          <p:cNvCxnSpPr/>
          <p:nvPr userDrawn="1"/>
        </p:nvCxnSpPr>
        <p:spPr>
          <a:xfrm>
            <a:off x="410176" y="6644201"/>
            <a:ext cx="0" cy="1082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Plassholder for tekst 16">
            <a:extLst>
              <a:ext uri="{FF2B5EF4-FFF2-40B4-BE49-F238E27FC236}">
                <a16:creationId xmlns:a16="http://schemas.microsoft.com/office/drawing/2014/main" id="{2A0EBD23-7235-4D4D-AF96-FCFFD9067A43}"/>
              </a:ext>
            </a:extLst>
          </p:cNvPr>
          <p:cNvSpPr>
            <a:spLocks noGrp="1"/>
          </p:cNvSpPr>
          <p:nvPr>
            <p:ph type="body" sz="quarter" idx="14"/>
          </p:nvPr>
        </p:nvSpPr>
        <p:spPr>
          <a:xfrm>
            <a:off x="420635" y="-10047"/>
            <a:ext cx="2323913" cy="341817"/>
          </a:xfrm>
          <a:solidFill>
            <a:schemeClr val="tx2"/>
          </a:solidFill>
        </p:spPr>
        <p:txBody>
          <a:bodyPr anchor="ctr">
            <a:noAutofit/>
          </a:bodyPr>
          <a:lstStyle>
            <a:lvl1pPr marL="0" indent="0" algn="ctr">
              <a:buNone/>
              <a:defRPr sz="1266" b="1" cap="all" baseline="0">
                <a:solidFill>
                  <a:schemeClr val="bg1"/>
                </a:solidFill>
              </a:defRPr>
            </a:lvl1pPr>
            <a:lvl2pPr algn="ctr">
              <a:defRPr sz="879">
                <a:solidFill>
                  <a:schemeClr val="bg1"/>
                </a:solidFill>
              </a:defRPr>
            </a:lvl2pPr>
            <a:lvl3pPr algn="ctr">
              <a:defRPr sz="879">
                <a:solidFill>
                  <a:schemeClr val="bg1"/>
                </a:solidFill>
              </a:defRPr>
            </a:lvl3pPr>
            <a:lvl4pPr algn="ctr">
              <a:defRPr sz="879">
                <a:solidFill>
                  <a:schemeClr val="bg1"/>
                </a:solidFill>
              </a:defRPr>
            </a:lvl4pPr>
            <a:lvl5pPr algn="ctr">
              <a:defRPr sz="879">
                <a:solidFill>
                  <a:schemeClr val="bg1"/>
                </a:solidFill>
              </a:defRPr>
            </a:lvl5pPr>
          </a:lstStyle>
          <a:p>
            <a:pPr lvl="0"/>
            <a:r>
              <a:rPr lang="nb-NO"/>
              <a:t>Rediger tekststiler i malen</a:t>
            </a:r>
          </a:p>
        </p:txBody>
      </p:sp>
      <p:sp>
        <p:nvSpPr>
          <p:cNvPr id="14" name="Plassholder for tekst 15">
            <a:extLst>
              <a:ext uri="{FF2B5EF4-FFF2-40B4-BE49-F238E27FC236}">
                <a16:creationId xmlns:a16="http://schemas.microsoft.com/office/drawing/2014/main" id="{66CC5EB4-DB25-4E7A-9624-66A8E6979EC4}"/>
              </a:ext>
            </a:extLst>
          </p:cNvPr>
          <p:cNvSpPr>
            <a:spLocks noGrp="1"/>
          </p:cNvSpPr>
          <p:nvPr>
            <p:ph type="body" sz="quarter" idx="17" hasCustomPrompt="1"/>
          </p:nvPr>
        </p:nvSpPr>
        <p:spPr>
          <a:xfrm>
            <a:off x="7451870" y="1645786"/>
            <a:ext cx="3924036" cy="3924076"/>
          </a:xfrm>
          <a:prstGeom prst="ellipse">
            <a:avLst/>
          </a:prstGeom>
          <a:solidFill>
            <a:srgbClr val="005F64">
              <a:alpha val="69804"/>
            </a:srgbClr>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5" name="Plassholder for tekst 15">
            <a:extLst>
              <a:ext uri="{FF2B5EF4-FFF2-40B4-BE49-F238E27FC236}">
                <a16:creationId xmlns:a16="http://schemas.microsoft.com/office/drawing/2014/main" id="{2DFC32B3-7CD5-459F-A76A-D7599D5E5B08}"/>
              </a:ext>
            </a:extLst>
          </p:cNvPr>
          <p:cNvSpPr>
            <a:spLocks noGrp="1"/>
          </p:cNvSpPr>
          <p:nvPr>
            <p:ph type="body" sz="quarter" idx="18" hasCustomPrompt="1"/>
          </p:nvPr>
        </p:nvSpPr>
        <p:spPr>
          <a:xfrm>
            <a:off x="7451870" y="1645786"/>
            <a:ext cx="3924036" cy="3924076"/>
          </a:xfrm>
          <a:prstGeom prst="ellipse">
            <a:avLst/>
          </a:prstGeom>
          <a:blipFill dpi="0" rotWithShape="1">
            <a:blip r:embed="rId2"/>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pic>
        <p:nvPicPr>
          <p:cNvPr id="18" name="Bilde 17">
            <a:extLst>
              <a:ext uri="{FF2B5EF4-FFF2-40B4-BE49-F238E27FC236}">
                <a16:creationId xmlns:a16="http://schemas.microsoft.com/office/drawing/2014/main" id="{9CF8D0F3-4CA0-48A8-8C03-031CB44E6318}"/>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l="47291"/>
          <a:stretch/>
        </p:blipFill>
        <p:spPr>
          <a:xfrm>
            <a:off x="9147182" y="6538622"/>
            <a:ext cx="3044818" cy="319378"/>
          </a:xfrm>
          <a:prstGeom prst="rect">
            <a:avLst/>
          </a:prstGeom>
        </p:spPr>
      </p:pic>
      <p:pic>
        <p:nvPicPr>
          <p:cNvPr id="19" name="Bilde 18">
            <a:extLst>
              <a:ext uri="{FF2B5EF4-FFF2-40B4-BE49-F238E27FC236}">
                <a16:creationId xmlns:a16="http://schemas.microsoft.com/office/drawing/2014/main" id="{2BD8ABBD-F4B5-4793-B184-24CFC76857CE}"/>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4983540" y="6617793"/>
            <a:ext cx="2224907" cy="113604"/>
          </a:xfrm>
          <a:prstGeom prst="rect">
            <a:avLst/>
          </a:prstGeom>
        </p:spPr>
      </p:pic>
    </p:spTree>
    <p:extLst>
      <p:ext uri="{BB962C8B-B14F-4D97-AF65-F5344CB8AC3E}">
        <p14:creationId xmlns:p14="http://schemas.microsoft.com/office/powerpoint/2010/main" val="4174952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tellysbilde #2">
    <p:bg>
      <p:bgPr>
        <a:solidFill>
          <a:schemeClr val="lt1"/>
        </a:solidFill>
        <a:effectLst/>
      </p:bgPr>
    </p:bg>
    <p:spTree>
      <p:nvGrpSpPr>
        <p:cNvPr id="1" name=""/>
        <p:cNvGrpSpPr/>
        <p:nvPr/>
      </p:nvGrpSpPr>
      <p:grpSpPr>
        <a:xfrm>
          <a:off x="0" y="0"/>
          <a:ext cx="0" cy="0"/>
          <a:chOff x="0" y="0"/>
          <a:chExt cx="0" cy="0"/>
        </a:xfrm>
      </p:grpSpPr>
      <p:sp>
        <p:nvSpPr>
          <p:cNvPr id="13" name="Plassholder for bilde 12">
            <a:extLst>
              <a:ext uri="{FF2B5EF4-FFF2-40B4-BE49-F238E27FC236}">
                <a16:creationId xmlns:a16="http://schemas.microsoft.com/office/drawing/2014/main" id="{6DB984A3-CCAF-430F-B635-4ABD2578E002}"/>
              </a:ext>
            </a:extLst>
          </p:cNvPr>
          <p:cNvSpPr>
            <a:spLocks noGrp="1"/>
          </p:cNvSpPr>
          <p:nvPr>
            <p:ph type="pic" sz="quarter" idx="13"/>
          </p:nvPr>
        </p:nvSpPr>
        <p:spPr>
          <a:xfrm>
            <a:off x="168793" y="126603"/>
            <a:ext cx="11854403" cy="6380586"/>
          </a:xfrm>
        </p:spPr>
        <p:txBody>
          <a:bodyPr/>
          <a:lstStyle/>
          <a:p>
            <a:r>
              <a:rPr lang="nb-NO"/>
              <a:t>Klikk ikonet for å legge til et bilde</a:t>
            </a:r>
            <a:endParaRPr lang="nb-NO" dirty="0"/>
          </a:p>
        </p:txBody>
      </p:sp>
      <p:sp>
        <p:nvSpPr>
          <p:cNvPr id="2" name="Title 1"/>
          <p:cNvSpPr>
            <a:spLocks noGrp="1"/>
          </p:cNvSpPr>
          <p:nvPr>
            <p:ph type="ctrTitle"/>
          </p:nvPr>
        </p:nvSpPr>
        <p:spPr>
          <a:xfrm>
            <a:off x="914401" y="3378381"/>
            <a:ext cx="10363200" cy="584390"/>
          </a:xfrm>
        </p:spPr>
        <p:txBody>
          <a:bodyPr anchor="b">
            <a:spAutoFit/>
          </a:bodyPr>
          <a:lstStyle>
            <a:lvl1pPr algn="ctr">
              <a:defRPr sz="3797">
                <a:solidFill>
                  <a:schemeClr val="lt1"/>
                </a:solidFill>
              </a:defRPr>
            </a:lvl1pPr>
          </a:lstStyle>
          <a:p>
            <a:r>
              <a:rPr lang="nb-NO"/>
              <a:t>Klikk for å redigere tittelstil</a:t>
            </a:r>
            <a:endParaRPr lang="en-US" dirty="0"/>
          </a:p>
        </p:txBody>
      </p:sp>
      <p:sp>
        <p:nvSpPr>
          <p:cNvPr id="3" name="Subtitle 2"/>
          <p:cNvSpPr>
            <a:spLocks noGrp="1"/>
          </p:cNvSpPr>
          <p:nvPr>
            <p:ph type="subTitle" idx="1"/>
          </p:nvPr>
        </p:nvSpPr>
        <p:spPr>
          <a:xfrm>
            <a:off x="914401" y="2823067"/>
            <a:ext cx="10363200" cy="486991"/>
          </a:xfrm>
        </p:spPr>
        <p:txBody>
          <a:bodyPr>
            <a:spAutoFit/>
          </a:bodyPr>
          <a:lstStyle>
            <a:lvl1pPr marL="0" indent="0" algn="ctr">
              <a:buNone/>
              <a:defRPr sz="3164" b="1">
                <a:solidFill>
                  <a:schemeClr val="lt1"/>
                </a:solidFill>
              </a:defRPr>
            </a:lvl1pPr>
            <a:lvl2pPr marL="457166" indent="0" algn="ctr">
              <a:buNone/>
              <a:defRPr sz="2000"/>
            </a:lvl2pPr>
            <a:lvl3pPr marL="914332" indent="0" algn="ctr">
              <a:buNone/>
              <a:defRPr sz="1800"/>
            </a:lvl3pPr>
            <a:lvl4pPr marL="1371497" indent="0" algn="ctr">
              <a:buNone/>
              <a:defRPr sz="1600"/>
            </a:lvl4pPr>
            <a:lvl5pPr marL="1828664" indent="0" algn="ctr">
              <a:buNone/>
              <a:defRPr sz="1600"/>
            </a:lvl5pPr>
            <a:lvl6pPr marL="2285830" indent="0" algn="ctr">
              <a:buNone/>
              <a:defRPr sz="1600"/>
            </a:lvl6pPr>
            <a:lvl7pPr marL="2742995" indent="0" algn="ctr">
              <a:buNone/>
              <a:defRPr sz="1600"/>
            </a:lvl7pPr>
            <a:lvl8pPr marL="3200161" indent="0" algn="ctr">
              <a:buNone/>
              <a:defRPr sz="1600"/>
            </a:lvl8pPr>
            <a:lvl9pPr marL="3657327" indent="0" algn="ctr">
              <a:buNone/>
              <a:defRPr sz="1600"/>
            </a:lvl9pPr>
          </a:lstStyle>
          <a:p>
            <a:r>
              <a:rPr lang="nb-NO"/>
              <a:t>Klikk for å redigere undertittelstil i malen</a:t>
            </a:r>
            <a:endParaRPr lang="en-US" dirty="0"/>
          </a:p>
        </p:txBody>
      </p:sp>
      <p:sp>
        <p:nvSpPr>
          <p:cNvPr id="4" name="Date Placeholder 3"/>
          <p:cNvSpPr>
            <a:spLocks noGrp="1"/>
          </p:cNvSpPr>
          <p:nvPr>
            <p:ph type="dt" sz="half" idx="10"/>
          </p:nvPr>
        </p:nvSpPr>
        <p:spPr/>
        <p:txBody>
          <a:bodyPr/>
          <a:lstStyle>
            <a:lvl1pPr>
              <a:defRPr>
                <a:solidFill>
                  <a:schemeClr val="dk1"/>
                </a:solidFill>
              </a:defRPr>
            </a:lvl1pPr>
          </a:lstStyle>
          <a:p>
            <a:r>
              <a:rPr lang="nb-NO"/>
              <a:t>Dato</a:t>
            </a:r>
          </a:p>
        </p:txBody>
      </p:sp>
      <p:sp>
        <p:nvSpPr>
          <p:cNvPr id="6" name="Slide Number Placeholder 5"/>
          <p:cNvSpPr>
            <a:spLocks noGrp="1"/>
          </p:cNvSpPr>
          <p:nvPr>
            <p:ph type="sldNum" sz="quarter" idx="12"/>
          </p:nvPr>
        </p:nvSpPr>
        <p:spPr/>
        <p:txBody>
          <a:bodyPr/>
          <a:lstStyle>
            <a:lvl1pPr>
              <a:defRPr>
                <a:solidFill>
                  <a:schemeClr val="dk1"/>
                </a:solidFill>
              </a:defRPr>
            </a:lvl1pPr>
          </a:lstStyle>
          <a:p>
            <a:fld id="{D5DAC896-3290-4F14-BAAE-6BA5F8CCFA8A}" type="slidenum">
              <a:rPr lang="nb-NO" smtClean="0"/>
              <a:pPr/>
              <a:t>‹#›</a:t>
            </a:fld>
            <a:endParaRPr lang="nb-NO"/>
          </a:p>
        </p:txBody>
      </p:sp>
      <p:cxnSp>
        <p:nvCxnSpPr>
          <p:cNvPr id="11" name="Rett linje 10">
            <a:extLst>
              <a:ext uri="{FF2B5EF4-FFF2-40B4-BE49-F238E27FC236}">
                <a16:creationId xmlns:a16="http://schemas.microsoft.com/office/drawing/2014/main" id="{06E9339D-9BBE-4F1C-A7A6-A6BAA9FE87DE}"/>
              </a:ext>
            </a:extLst>
          </p:cNvPr>
          <p:cNvCxnSpPr/>
          <p:nvPr userDrawn="1"/>
        </p:nvCxnSpPr>
        <p:spPr>
          <a:xfrm>
            <a:off x="410176" y="6644201"/>
            <a:ext cx="0" cy="1082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Plassholder for tekst 16">
            <a:extLst>
              <a:ext uri="{FF2B5EF4-FFF2-40B4-BE49-F238E27FC236}">
                <a16:creationId xmlns:a16="http://schemas.microsoft.com/office/drawing/2014/main" id="{A905BA47-7711-4CE9-86A1-16DC313BD4F9}"/>
              </a:ext>
            </a:extLst>
          </p:cNvPr>
          <p:cNvSpPr>
            <a:spLocks noGrp="1"/>
          </p:cNvSpPr>
          <p:nvPr>
            <p:ph type="body" sz="quarter" idx="14"/>
          </p:nvPr>
        </p:nvSpPr>
        <p:spPr>
          <a:xfrm>
            <a:off x="420635" y="-10047"/>
            <a:ext cx="2323913" cy="341817"/>
          </a:xfrm>
          <a:solidFill>
            <a:schemeClr val="tx2"/>
          </a:solidFill>
        </p:spPr>
        <p:txBody>
          <a:bodyPr anchor="ctr">
            <a:noAutofit/>
          </a:bodyPr>
          <a:lstStyle>
            <a:lvl1pPr marL="0" indent="0" algn="ctr">
              <a:buNone/>
              <a:defRPr sz="1266" b="1" cap="all" baseline="0">
                <a:solidFill>
                  <a:schemeClr val="bg1"/>
                </a:solidFill>
              </a:defRPr>
            </a:lvl1pPr>
            <a:lvl2pPr algn="ctr">
              <a:defRPr sz="879">
                <a:solidFill>
                  <a:schemeClr val="bg1"/>
                </a:solidFill>
              </a:defRPr>
            </a:lvl2pPr>
            <a:lvl3pPr algn="ctr">
              <a:defRPr sz="879">
                <a:solidFill>
                  <a:schemeClr val="bg1"/>
                </a:solidFill>
              </a:defRPr>
            </a:lvl3pPr>
            <a:lvl4pPr algn="ctr">
              <a:defRPr sz="879">
                <a:solidFill>
                  <a:schemeClr val="bg1"/>
                </a:solidFill>
              </a:defRPr>
            </a:lvl4pPr>
            <a:lvl5pPr algn="ctr">
              <a:defRPr sz="879">
                <a:solidFill>
                  <a:schemeClr val="bg1"/>
                </a:solidFill>
              </a:defRPr>
            </a:lvl5pPr>
          </a:lstStyle>
          <a:p>
            <a:pPr lvl="0"/>
            <a:r>
              <a:rPr lang="nb-NO"/>
              <a:t>Rediger tekststiler i malen</a:t>
            </a:r>
          </a:p>
        </p:txBody>
      </p:sp>
      <p:sp>
        <p:nvSpPr>
          <p:cNvPr id="12" name="Plassholder for tekst 15">
            <a:extLst>
              <a:ext uri="{FF2B5EF4-FFF2-40B4-BE49-F238E27FC236}">
                <a16:creationId xmlns:a16="http://schemas.microsoft.com/office/drawing/2014/main" id="{8702F09A-6807-49CF-BA76-FD84FDF04416}"/>
              </a:ext>
            </a:extLst>
          </p:cNvPr>
          <p:cNvSpPr>
            <a:spLocks noGrp="1"/>
          </p:cNvSpPr>
          <p:nvPr>
            <p:ph type="body" sz="quarter" idx="17" hasCustomPrompt="1"/>
          </p:nvPr>
        </p:nvSpPr>
        <p:spPr>
          <a:xfrm>
            <a:off x="10758710" y="344255"/>
            <a:ext cx="1012654" cy="1012665"/>
          </a:xfrm>
          <a:prstGeom prst="ellipse">
            <a:avLst/>
          </a:prstGeom>
          <a:solidFill>
            <a:srgbClr val="005F64">
              <a:alpha val="69804"/>
            </a:srgbClr>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7" name="Plassholder for tekst 15">
            <a:extLst>
              <a:ext uri="{FF2B5EF4-FFF2-40B4-BE49-F238E27FC236}">
                <a16:creationId xmlns:a16="http://schemas.microsoft.com/office/drawing/2014/main" id="{969A3736-2C3A-486C-992E-5B1AB4968B74}"/>
              </a:ext>
            </a:extLst>
          </p:cNvPr>
          <p:cNvSpPr>
            <a:spLocks noGrp="1"/>
          </p:cNvSpPr>
          <p:nvPr>
            <p:ph type="body" sz="quarter" idx="18" hasCustomPrompt="1"/>
          </p:nvPr>
        </p:nvSpPr>
        <p:spPr>
          <a:xfrm>
            <a:off x="10758710" y="344255"/>
            <a:ext cx="1012654" cy="1012665"/>
          </a:xfrm>
          <a:prstGeom prst="ellipse">
            <a:avLst/>
          </a:prstGeom>
          <a:blipFill dpi="0" rotWithShape="1">
            <a:blip r:embed="rId2"/>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pic>
        <p:nvPicPr>
          <p:cNvPr id="18" name="Bilde 17">
            <a:extLst>
              <a:ext uri="{FF2B5EF4-FFF2-40B4-BE49-F238E27FC236}">
                <a16:creationId xmlns:a16="http://schemas.microsoft.com/office/drawing/2014/main" id="{54DD9634-B56D-4108-BA72-73A45FADFAA6}"/>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l="47291"/>
          <a:stretch/>
        </p:blipFill>
        <p:spPr>
          <a:xfrm>
            <a:off x="9147182" y="6538622"/>
            <a:ext cx="3044818" cy="319378"/>
          </a:xfrm>
          <a:prstGeom prst="rect">
            <a:avLst/>
          </a:prstGeom>
        </p:spPr>
      </p:pic>
      <p:pic>
        <p:nvPicPr>
          <p:cNvPr id="7" name="Bilde 6">
            <a:extLst>
              <a:ext uri="{FF2B5EF4-FFF2-40B4-BE49-F238E27FC236}">
                <a16:creationId xmlns:a16="http://schemas.microsoft.com/office/drawing/2014/main" id="{B1F798B4-5D31-45B5-AB8F-A66DC92F56F3}"/>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4983540" y="6617793"/>
            <a:ext cx="2224907" cy="113604"/>
          </a:xfrm>
          <a:prstGeom prst="rect">
            <a:avLst/>
          </a:prstGeom>
        </p:spPr>
      </p:pic>
    </p:spTree>
    <p:extLst>
      <p:ext uri="{BB962C8B-B14F-4D97-AF65-F5344CB8AC3E}">
        <p14:creationId xmlns:p14="http://schemas.microsoft.com/office/powerpoint/2010/main" val="28953418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tellysbilde #3 (uten bilde)">
    <p:bg>
      <p:bgPr>
        <a:blipFill>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1" y="2831173"/>
            <a:ext cx="10363200" cy="584390"/>
          </a:xfrm>
        </p:spPr>
        <p:txBody>
          <a:bodyPr lIns="0" tIns="0" rIns="0" bIns="0" anchor="b">
            <a:spAutoFit/>
          </a:bodyPr>
          <a:lstStyle>
            <a:lvl1pPr algn="ctr">
              <a:defRPr sz="3797" baseline="0">
                <a:solidFill>
                  <a:schemeClr val="tx1"/>
                </a:solidFill>
              </a:defRPr>
            </a:lvl1pPr>
          </a:lstStyle>
          <a:p>
            <a:r>
              <a:rPr lang="nb-NO" dirty="0"/>
              <a:t>Navn</a:t>
            </a:r>
            <a:r>
              <a:rPr lang="en-US" dirty="0"/>
              <a:t> </a:t>
            </a:r>
            <a:r>
              <a:rPr lang="en-US" dirty="0" err="1"/>
              <a:t>foredragsholder</a:t>
            </a:r>
            <a:endParaRPr lang="en-US" dirty="0"/>
          </a:p>
        </p:txBody>
      </p:sp>
      <p:sp>
        <p:nvSpPr>
          <p:cNvPr id="3" name="Subtitle 2"/>
          <p:cNvSpPr>
            <a:spLocks noGrp="1"/>
          </p:cNvSpPr>
          <p:nvPr>
            <p:ph type="subTitle" idx="1" hasCustomPrompt="1"/>
          </p:nvPr>
        </p:nvSpPr>
        <p:spPr>
          <a:xfrm>
            <a:off x="914401" y="3521693"/>
            <a:ext cx="10363200" cy="486991"/>
          </a:xfrm>
        </p:spPr>
        <p:txBody>
          <a:bodyPr>
            <a:spAutoFit/>
          </a:bodyPr>
          <a:lstStyle>
            <a:lvl1pPr marL="0" indent="0" algn="ctr">
              <a:buNone/>
              <a:defRPr sz="3164" b="1">
                <a:solidFill>
                  <a:schemeClr val="tx1"/>
                </a:solidFill>
              </a:defRPr>
            </a:lvl1pPr>
            <a:lvl2pPr marL="457166" indent="0" algn="ctr">
              <a:buNone/>
              <a:defRPr sz="2000"/>
            </a:lvl2pPr>
            <a:lvl3pPr marL="914332" indent="0" algn="ctr">
              <a:buNone/>
              <a:defRPr sz="1800"/>
            </a:lvl3pPr>
            <a:lvl4pPr marL="1371497" indent="0" algn="ctr">
              <a:buNone/>
              <a:defRPr sz="1600"/>
            </a:lvl4pPr>
            <a:lvl5pPr marL="1828664" indent="0" algn="ctr">
              <a:buNone/>
              <a:defRPr sz="1600"/>
            </a:lvl5pPr>
            <a:lvl6pPr marL="2285830" indent="0" algn="ctr">
              <a:buNone/>
              <a:defRPr sz="1600"/>
            </a:lvl6pPr>
            <a:lvl7pPr marL="2742995" indent="0" algn="ctr">
              <a:buNone/>
              <a:defRPr sz="1600"/>
            </a:lvl7pPr>
            <a:lvl8pPr marL="3200161" indent="0" algn="ctr">
              <a:buNone/>
              <a:defRPr sz="1600"/>
            </a:lvl8pPr>
            <a:lvl9pPr marL="3657327" indent="0" algn="ctr">
              <a:buNone/>
              <a:defRPr sz="1600"/>
            </a:lvl9pPr>
          </a:lstStyle>
          <a:p>
            <a:r>
              <a:rPr lang="nb-NO" dirty="0"/>
              <a:t>Tittel</a:t>
            </a:r>
            <a:endParaRPr lang="en-US" dirty="0"/>
          </a:p>
        </p:txBody>
      </p:sp>
      <p:sp>
        <p:nvSpPr>
          <p:cNvPr id="4" name="Date Placeholder 3"/>
          <p:cNvSpPr>
            <a:spLocks noGrp="1"/>
          </p:cNvSpPr>
          <p:nvPr>
            <p:ph type="dt" sz="half" idx="10"/>
          </p:nvPr>
        </p:nvSpPr>
        <p:spPr>
          <a:xfrm>
            <a:off x="913918" y="5368392"/>
            <a:ext cx="10363684" cy="400431"/>
          </a:xfrm>
        </p:spPr>
        <p:txBody>
          <a:bodyPr vert="horz" wrap="square" lIns="0" tIns="0" rIns="0" bIns="0" rtlCol="0">
            <a:spAutoFit/>
          </a:bodyPr>
          <a:lstStyle>
            <a:lvl1pPr algn="ctr">
              <a:defRPr lang="nb-NO" sz="2602" smtClean="0">
                <a:solidFill>
                  <a:schemeClr val="tx1"/>
                </a:solidFill>
              </a:defRPr>
            </a:lvl1pPr>
          </a:lstStyle>
          <a:p>
            <a:pPr defTabSz="914332">
              <a:spcBef>
                <a:spcPts val="1000"/>
              </a:spcBef>
              <a:buClr>
                <a:schemeClr val="tx2"/>
              </a:buClr>
            </a:pPr>
            <a:r>
              <a:rPr lang="nb-NO"/>
              <a:t>Dato</a:t>
            </a:r>
          </a:p>
        </p:txBody>
      </p:sp>
      <p:sp>
        <p:nvSpPr>
          <p:cNvPr id="16" name="Plassholder for tekst 16">
            <a:extLst>
              <a:ext uri="{FF2B5EF4-FFF2-40B4-BE49-F238E27FC236}">
                <a16:creationId xmlns:a16="http://schemas.microsoft.com/office/drawing/2014/main" id="{A905BA47-7711-4CE9-86A1-16DC313BD4F9}"/>
              </a:ext>
            </a:extLst>
          </p:cNvPr>
          <p:cNvSpPr>
            <a:spLocks noGrp="1"/>
          </p:cNvSpPr>
          <p:nvPr>
            <p:ph type="body" sz="quarter" idx="14"/>
          </p:nvPr>
        </p:nvSpPr>
        <p:spPr>
          <a:xfrm>
            <a:off x="420635" y="-10047"/>
            <a:ext cx="2323913" cy="341817"/>
          </a:xfrm>
          <a:solidFill>
            <a:schemeClr val="tx2"/>
          </a:solidFill>
        </p:spPr>
        <p:txBody>
          <a:bodyPr anchor="ctr">
            <a:noAutofit/>
          </a:bodyPr>
          <a:lstStyle>
            <a:lvl1pPr marL="0" indent="0" algn="ctr">
              <a:buNone/>
              <a:defRPr sz="1266" b="1" cap="all" baseline="0">
                <a:solidFill>
                  <a:schemeClr val="bg1"/>
                </a:solidFill>
              </a:defRPr>
            </a:lvl1pPr>
            <a:lvl2pPr algn="ctr">
              <a:defRPr sz="879">
                <a:solidFill>
                  <a:schemeClr val="bg1"/>
                </a:solidFill>
              </a:defRPr>
            </a:lvl2pPr>
            <a:lvl3pPr algn="ctr">
              <a:defRPr sz="879">
                <a:solidFill>
                  <a:schemeClr val="bg1"/>
                </a:solidFill>
              </a:defRPr>
            </a:lvl3pPr>
            <a:lvl4pPr algn="ctr">
              <a:defRPr sz="879">
                <a:solidFill>
                  <a:schemeClr val="bg1"/>
                </a:solidFill>
              </a:defRPr>
            </a:lvl4pPr>
            <a:lvl5pPr algn="ctr">
              <a:defRPr sz="879">
                <a:solidFill>
                  <a:schemeClr val="bg1"/>
                </a:solidFill>
              </a:defRPr>
            </a:lvl5pPr>
          </a:lstStyle>
          <a:p>
            <a:pPr lvl="0"/>
            <a:r>
              <a:rPr lang="nb-NO"/>
              <a:t>Rediger tekststiler i malen</a:t>
            </a:r>
          </a:p>
        </p:txBody>
      </p:sp>
      <p:sp>
        <p:nvSpPr>
          <p:cNvPr id="7" name="Plassholder for innhold 6"/>
          <p:cNvSpPr>
            <a:spLocks noGrp="1"/>
          </p:cNvSpPr>
          <p:nvPr>
            <p:ph sz="quarter" idx="17" hasCustomPrompt="1"/>
          </p:nvPr>
        </p:nvSpPr>
        <p:spPr>
          <a:xfrm>
            <a:off x="913917" y="4861854"/>
            <a:ext cx="10364168" cy="400415"/>
          </a:xfrm>
        </p:spPr>
        <p:txBody>
          <a:bodyPr>
            <a:spAutoFit/>
          </a:bodyPr>
          <a:lstStyle>
            <a:lvl1pPr marL="0" indent="0" algn="ctr">
              <a:buNone/>
              <a:defRPr/>
            </a:lvl1pPr>
          </a:lstStyle>
          <a:p>
            <a:pPr lvl="0"/>
            <a:r>
              <a:rPr lang="nb-NO" dirty="0"/>
              <a:t>Arrangement og sted</a:t>
            </a:r>
          </a:p>
        </p:txBody>
      </p:sp>
      <p:sp>
        <p:nvSpPr>
          <p:cNvPr id="9" name="Ellipse 8">
            <a:extLst>
              <a:ext uri="{FF2B5EF4-FFF2-40B4-BE49-F238E27FC236}">
                <a16:creationId xmlns:a16="http://schemas.microsoft.com/office/drawing/2014/main" id="{77AE7204-EE82-4068-81B3-CC990B126963}"/>
              </a:ext>
            </a:extLst>
          </p:cNvPr>
          <p:cNvSpPr/>
          <p:nvPr userDrawn="1"/>
        </p:nvSpPr>
        <p:spPr>
          <a:xfrm>
            <a:off x="10758710" y="344255"/>
            <a:ext cx="1012654" cy="10126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66"/>
          </a:p>
        </p:txBody>
      </p:sp>
      <p:pic>
        <p:nvPicPr>
          <p:cNvPr id="10" name="Bilde 9">
            <a:extLst>
              <a:ext uri="{FF2B5EF4-FFF2-40B4-BE49-F238E27FC236}">
                <a16:creationId xmlns:a16="http://schemas.microsoft.com/office/drawing/2014/main" id="{B3183C7A-A577-4026-A3D2-14F5C7493A9E}"/>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758710" y="344255"/>
            <a:ext cx="1012654" cy="1012665"/>
          </a:xfrm>
          <a:prstGeom prst="rect">
            <a:avLst/>
          </a:prstGeom>
        </p:spPr>
      </p:pic>
    </p:spTree>
    <p:extLst>
      <p:ext uri="{BB962C8B-B14F-4D97-AF65-F5344CB8AC3E}">
        <p14:creationId xmlns:p14="http://schemas.microsoft.com/office/powerpoint/2010/main" val="12825348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Content Placeholder 2"/>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r>
              <a:rPr lang="nb-NO"/>
              <a:t>Dato</a:t>
            </a:r>
          </a:p>
        </p:txBody>
      </p:sp>
      <p:sp>
        <p:nvSpPr>
          <p:cNvPr id="6" name="Slide Number Placeholder 5"/>
          <p:cNvSpPr>
            <a:spLocks noGrp="1"/>
          </p:cNvSpPr>
          <p:nvPr>
            <p:ph type="sldNum" sz="quarter" idx="12"/>
          </p:nvPr>
        </p:nvSpPr>
        <p:spPr/>
        <p:txBody>
          <a:bodyPr/>
          <a:lstStyle/>
          <a:p>
            <a:fld id="{D5DAC896-3290-4F14-BAAE-6BA5F8CCFA8A}" type="slidenum">
              <a:rPr lang="nb-NO" smtClean="0"/>
              <a:t>‹#›</a:t>
            </a:fld>
            <a:endParaRPr lang="nb-NO"/>
          </a:p>
        </p:txBody>
      </p:sp>
      <p:sp>
        <p:nvSpPr>
          <p:cNvPr id="8" name="Plassholder for tekst 7">
            <a:extLst>
              <a:ext uri="{FF2B5EF4-FFF2-40B4-BE49-F238E27FC236}">
                <a16:creationId xmlns:a16="http://schemas.microsoft.com/office/drawing/2014/main" id="{77928EF2-103F-4C47-A62A-EA181BEF62DC}"/>
              </a:ext>
            </a:extLst>
          </p:cNvPr>
          <p:cNvSpPr>
            <a:spLocks noGrp="1"/>
          </p:cNvSpPr>
          <p:nvPr>
            <p:ph type="body" sz="quarter" idx="13" hasCustomPrompt="1"/>
          </p:nvPr>
        </p:nvSpPr>
        <p:spPr>
          <a:xfrm>
            <a:off x="1350035" y="1571425"/>
            <a:ext cx="8945950" cy="772107"/>
          </a:xfrm>
        </p:spPr>
        <p:txBody>
          <a:bodyPr>
            <a:noAutofit/>
          </a:bodyPr>
          <a:lstStyle>
            <a:lvl1pPr marL="0" indent="0">
              <a:buNone/>
              <a:defRPr sz="2602" b="1"/>
            </a:lvl1pPr>
          </a:lstStyle>
          <a:p>
            <a:pPr lvl="0"/>
            <a:r>
              <a:rPr lang="nb-NO" dirty="0"/>
              <a:t>Ingress</a:t>
            </a:r>
          </a:p>
        </p:txBody>
      </p:sp>
    </p:spTree>
    <p:extLst>
      <p:ext uri="{BB962C8B-B14F-4D97-AF65-F5344CB8AC3E}">
        <p14:creationId xmlns:p14="http://schemas.microsoft.com/office/powerpoint/2010/main" val="7091796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tel og innhold (uten ingres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Content Placeholder 2"/>
          <p:cNvSpPr>
            <a:spLocks noGrp="1"/>
          </p:cNvSpPr>
          <p:nvPr>
            <p:ph idx="1"/>
          </p:nvPr>
        </p:nvSpPr>
        <p:spPr>
          <a:xfrm>
            <a:off x="1350335" y="1571425"/>
            <a:ext cx="8945950" cy="4605541"/>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r>
              <a:rPr lang="nb-NO"/>
              <a:t>Dato</a:t>
            </a:r>
          </a:p>
        </p:txBody>
      </p:sp>
      <p:sp>
        <p:nvSpPr>
          <p:cNvPr id="6" name="Slide Number Placeholder 5"/>
          <p:cNvSpPr>
            <a:spLocks noGrp="1"/>
          </p:cNvSpPr>
          <p:nvPr>
            <p:ph type="sldNum" sz="quarter" idx="12"/>
          </p:nvPr>
        </p:nvSpPr>
        <p:spPr/>
        <p:txBody>
          <a:bodyPr/>
          <a:lstStyle/>
          <a:p>
            <a:fld id="{D5DAC896-3290-4F14-BAAE-6BA5F8CCFA8A}" type="slidenum">
              <a:rPr lang="nb-NO" smtClean="0"/>
              <a:t>‹#›</a:t>
            </a:fld>
            <a:endParaRPr lang="nb-NO"/>
          </a:p>
        </p:txBody>
      </p:sp>
    </p:spTree>
    <p:extLst>
      <p:ext uri="{BB962C8B-B14F-4D97-AF65-F5344CB8AC3E}">
        <p14:creationId xmlns:p14="http://schemas.microsoft.com/office/powerpoint/2010/main" val="18790812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Mellomside">
    <p:bg>
      <p:bgPr>
        <a:solidFill>
          <a:schemeClr val="lt1"/>
        </a:solidFill>
        <a:effectLst/>
      </p:bgPr>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BE8CFCFC-AD0C-4D0E-89F0-6E49B06BA629}"/>
              </a:ext>
            </a:extLst>
          </p:cNvPr>
          <p:cNvSpPr/>
          <p:nvPr userDrawn="1"/>
        </p:nvSpPr>
        <p:spPr>
          <a:xfrm>
            <a:off x="168793" y="126603"/>
            <a:ext cx="11854403" cy="63805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66"/>
          </a:p>
        </p:txBody>
      </p:sp>
      <p:sp>
        <p:nvSpPr>
          <p:cNvPr id="2" name="Date Placeholder 1"/>
          <p:cNvSpPr>
            <a:spLocks noGrp="1"/>
          </p:cNvSpPr>
          <p:nvPr>
            <p:ph type="dt" sz="half" idx="10"/>
          </p:nvPr>
        </p:nvSpPr>
        <p:spPr/>
        <p:txBody>
          <a:bodyPr/>
          <a:lstStyle>
            <a:lvl1pPr>
              <a:defRPr>
                <a:solidFill>
                  <a:schemeClr val="dk1"/>
                </a:solidFill>
              </a:defRPr>
            </a:lvl1pPr>
          </a:lstStyle>
          <a:p>
            <a:r>
              <a:rPr lang="nb-NO"/>
              <a:t>Dato</a:t>
            </a:r>
          </a:p>
        </p:txBody>
      </p:sp>
      <p:sp>
        <p:nvSpPr>
          <p:cNvPr id="4" name="Slide Number Placeholder 3"/>
          <p:cNvSpPr>
            <a:spLocks noGrp="1"/>
          </p:cNvSpPr>
          <p:nvPr>
            <p:ph type="sldNum" sz="quarter" idx="12"/>
          </p:nvPr>
        </p:nvSpPr>
        <p:spPr/>
        <p:txBody>
          <a:bodyPr/>
          <a:lstStyle>
            <a:lvl1pPr>
              <a:defRPr>
                <a:solidFill>
                  <a:schemeClr val="dk1"/>
                </a:solidFill>
              </a:defRPr>
            </a:lvl1pPr>
          </a:lstStyle>
          <a:p>
            <a:fld id="{D5DAC896-3290-4F14-BAAE-6BA5F8CCFA8A}" type="slidenum">
              <a:rPr lang="nb-NO" smtClean="0"/>
              <a:pPr/>
              <a:t>‹#›</a:t>
            </a:fld>
            <a:endParaRPr lang="nb-NO"/>
          </a:p>
        </p:txBody>
      </p:sp>
      <p:cxnSp>
        <p:nvCxnSpPr>
          <p:cNvPr id="8" name="Rett linje 7">
            <a:extLst>
              <a:ext uri="{FF2B5EF4-FFF2-40B4-BE49-F238E27FC236}">
                <a16:creationId xmlns:a16="http://schemas.microsoft.com/office/drawing/2014/main" id="{4CB0DF7C-63EC-413A-A5D3-B0D3FEEC84D7}"/>
              </a:ext>
            </a:extLst>
          </p:cNvPr>
          <p:cNvCxnSpPr/>
          <p:nvPr userDrawn="1"/>
        </p:nvCxnSpPr>
        <p:spPr>
          <a:xfrm>
            <a:off x="410176" y="6644201"/>
            <a:ext cx="0" cy="1082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Bilde 9">
            <a:extLst>
              <a:ext uri="{FF2B5EF4-FFF2-40B4-BE49-F238E27FC236}">
                <a16:creationId xmlns:a16="http://schemas.microsoft.com/office/drawing/2014/main" id="{A4605B23-F521-435D-A1C3-86C869A8935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4692036" y="2521237"/>
            <a:ext cx="2807928" cy="1815526"/>
          </a:xfrm>
          <a:prstGeom prst="rect">
            <a:avLst/>
          </a:prstGeom>
        </p:spPr>
      </p:pic>
      <p:pic>
        <p:nvPicPr>
          <p:cNvPr id="11" name="Bilde 10">
            <a:extLst>
              <a:ext uri="{FF2B5EF4-FFF2-40B4-BE49-F238E27FC236}">
                <a16:creationId xmlns:a16="http://schemas.microsoft.com/office/drawing/2014/main" id="{924479DA-9E77-482F-B749-51FABD45D547}"/>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l="47291"/>
          <a:stretch/>
        </p:blipFill>
        <p:spPr>
          <a:xfrm>
            <a:off x="9147182" y="6538622"/>
            <a:ext cx="3044818" cy="319378"/>
          </a:xfrm>
          <a:prstGeom prst="rect">
            <a:avLst/>
          </a:prstGeom>
        </p:spPr>
      </p:pic>
      <p:pic>
        <p:nvPicPr>
          <p:cNvPr id="12" name="Bilde 11">
            <a:extLst>
              <a:ext uri="{FF2B5EF4-FFF2-40B4-BE49-F238E27FC236}">
                <a16:creationId xmlns:a16="http://schemas.microsoft.com/office/drawing/2014/main" id="{39CE7CF4-4E1E-4E39-92C9-DBCBD10CA31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4983540" y="6617793"/>
            <a:ext cx="2224907" cy="113604"/>
          </a:xfrm>
          <a:prstGeom prst="rect">
            <a:avLst/>
          </a:prstGeom>
        </p:spPr>
      </p:pic>
    </p:spTree>
    <p:extLst>
      <p:ext uri="{BB962C8B-B14F-4D97-AF65-F5344CB8AC3E}">
        <p14:creationId xmlns:p14="http://schemas.microsoft.com/office/powerpoint/2010/main" val="34988552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Free Content" preserve="1" userDrawn="1">
  <p:cSld name="1_Free Content">
    <p:spTree>
      <p:nvGrpSpPr>
        <p:cNvPr id="1" name=""/>
        <p:cNvGrpSpPr/>
        <p:nvPr/>
      </p:nvGrpSpPr>
      <p:grpSpPr>
        <a:xfrm>
          <a:off x="0" y="0"/>
          <a:ext cx="0" cy="0"/>
          <a:chOff x="0" y="0"/>
          <a:chExt cx="0" cy="0"/>
        </a:xfrm>
      </p:grpSpPr>
      <p:graphicFrame>
        <p:nvGraphicFramePr>
          <p:cNvPr id="33" name="Objekt 32" hidden="1"/>
          <p:cNvGraphicFramePr>
            <a:graphicFrameLocks noChangeAspect="1"/>
          </p:cNvGraphicFramePr>
          <p:nvPr>
            <p:custDataLst>
              <p:tags r:id="rId3"/>
            </p:custDataLst>
          </p:nvPr>
        </p:nvGraphicFramePr>
        <p:xfrm>
          <a:off x="1587" y="1589"/>
          <a:ext cx="1586" cy="1587"/>
        </p:xfrm>
        <a:graphic>
          <a:graphicData uri="http://schemas.openxmlformats.org/presentationml/2006/ole">
            <mc:AlternateContent xmlns:mc="http://schemas.openxmlformats.org/markup-compatibility/2006">
              <mc:Choice xmlns:v="urn:schemas-microsoft-com:vml" Requires="v">
                <p:oleObj spid="_x0000_s5127" name="think-cell Slide" r:id="rId6" imgW="360" imgH="360" progId="TCLayout.ActiveDocument.1">
                  <p:embed/>
                </p:oleObj>
              </mc:Choice>
              <mc:Fallback>
                <p:oleObj name="think-cell Slide" r:id="rId6" imgW="360" imgH="360" progId="TCLayout.ActiveDocument.1">
                  <p:embed/>
                  <p:pic>
                    <p:nvPicPr>
                      <p:cNvPr id="33" name="Objekt 3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dtTitle 1 Id2"/>
          <p:cNvSpPr>
            <a:spLocks noGrp="1"/>
          </p:cNvSpPr>
          <p:nvPr>
            <p:ph type="title"/>
            <p:custDataLst>
              <p:tags r:id="rId4"/>
            </p:custDataLst>
          </p:nvPr>
        </p:nvSpPr>
        <p:spPr>
          <a:xfrm>
            <a:off x="0" y="0"/>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de-DE"/>
              <a:t>Mastertitelformat bearbeiten</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3" name="Group 33"/>
          <p:cNvGrpSpPr>
            <a:grpSpLocks noChangeAspect="1"/>
          </p:cNvGrpSpPr>
          <p:nvPr userDrawn="1"/>
        </p:nvGrpSpPr>
        <p:grpSpPr bwMode="auto">
          <a:xfrm>
            <a:off x="9550189" y="323850"/>
            <a:ext cx="2157876"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grpSp>
    </p:spTree>
    <p:custDataLst>
      <p:custData r:id="rId2"/>
    </p:custDataLst>
    <p:extLst>
      <p:ext uri="{BB962C8B-B14F-4D97-AF65-F5344CB8AC3E}">
        <p14:creationId xmlns:p14="http://schemas.microsoft.com/office/powerpoint/2010/main" val="32994019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secHead" preserve="1">
  <p:cSld name="Deloverskrift">
    <p:bg>
      <p:bgPr>
        <a:solidFill>
          <a:schemeClr val="lt1"/>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7DAC0AFD-A0A0-4165-A09D-E8CA745C8F63}"/>
              </a:ext>
            </a:extLst>
          </p:cNvPr>
          <p:cNvSpPr/>
          <p:nvPr userDrawn="1"/>
        </p:nvSpPr>
        <p:spPr>
          <a:xfrm>
            <a:off x="168793" y="126603"/>
            <a:ext cx="11854403" cy="63805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66"/>
          </a:p>
        </p:txBody>
      </p:sp>
      <p:sp>
        <p:nvSpPr>
          <p:cNvPr id="2" name="Title 1"/>
          <p:cNvSpPr>
            <a:spLocks noGrp="1"/>
          </p:cNvSpPr>
          <p:nvPr>
            <p:ph type="title"/>
          </p:nvPr>
        </p:nvSpPr>
        <p:spPr>
          <a:xfrm>
            <a:off x="831852" y="2860719"/>
            <a:ext cx="10515600" cy="584390"/>
          </a:xfrm>
        </p:spPr>
        <p:txBody>
          <a:bodyPr anchor="b">
            <a:spAutoFit/>
          </a:bodyPr>
          <a:lstStyle>
            <a:lvl1pPr algn="ctr">
              <a:defRPr sz="3797">
                <a:solidFill>
                  <a:schemeClr val="lt1"/>
                </a:solidFill>
              </a:defRPr>
            </a:lvl1pPr>
          </a:lstStyle>
          <a:p>
            <a:r>
              <a:rPr lang="nb-NO"/>
              <a:t>Klikk for å redigere tittelstil</a:t>
            </a:r>
            <a:endParaRPr lang="en-US" dirty="0"/>
          </a:p>
        </p:txBody>
      </p:sp>
      <p:sp>
        <p:nvSpPr>
          <p:cNvPr id="3" name="Text Placeholder 2"/>
          <p:cNvSpPr>
            <a:spLocks noGrp="1"/>
          </p:cNvSpPr>
          <p:nvPr>
            <p:ph type="body" idx="1"/>
          </p:nvPr>
        </p:nvSpPr>
        <p:spPr>
          <a:xfrm>
            <a:off x="831852" y="3455152"/>
            <a:ext cx="10515600" cy="584390"/>
          </a:xfrm>
        </p:spPr>
        <p:txBody>
          <a:bodyPr>
            <a:spAutoFit/>
          </a:bodyPr>
          <a:lstStyle>
            <a:lvl1pPr marL="0" indent="0" algn="ctr">
              <a:buNone/>
              <a:defRPr sz="3797">
                <a:solidFill>
                  <a:schemeClr val="lt1"/>
                </a:solidFill>
              </a:defRPr>
            </a:lvl1pPr>
            <a:lvl2pPr marL="457166" indent="0">
              <a:buNone/>
              <a:defRPr sz="2000">
                <a:solidFill>
                  <a:schemeClr val="tx1">
                    <a:tint val="75000"/>
                  </a:schemeClr>
                </a:solidFill>
              </a:defRPr>
            </a:lvl2pPr>
            <a:lvl3pPr marL="914332" indent="0">
              <a:buNone/>
              <a:defRPr sz="1800">
                <a:solidFill>
                  <a:schemeClr val="tx1">
                    <a:tint val="75000"/>
                  </a:schemeClr>
                </a:solidFill>
              </a:defRPr>
            </a:lvl3pPr>
            <a:lvl4pPr marL="1371497"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5" indent="0">
              <a:buNone/>
              <a:defRPr sz="1600">
                <a:solidFill>
                  <a:schemeClr val="tx1">
                    <a:tint val="75000"/>
                  </a:schemeClr>
                </a:solidFill>
              </a:defRPr>
            </a:lvl7pPr>
            <a:lvl8pPr marL="3200161"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nb-NO"/>
              <a:t>Rediger tekststiler i malen</a:t>
            </a:r>
          </a:p>
        </p:txBody>
      </p:sp>
      <p:sp>
        <p:nvSpPr>
          <p:cNvPr id="4" name="Date Placeholder 3"/>
          <p:cNvSpPr>
            <a:spLocks noGrp="1"/>
          </p:cNvSpPr>
          <p:nvPr>
            <p:ph type="dt" sz="half" idx="10"/>
          </p:nvPr>
        </p:nvSpPr>
        <p:spPr/>
        <p:txBody>
          <a:bodyPr/>
          <a:lstStyle>
            <a:lvl1pPr>
              <a:defRPr>
                <a:solidFill>
                  <a:schemeClr val="dk1"/>
                </a:solidFill>
              </a:defRPr>
            </a:lvl1pPr>
          </a:lstStyle>
          <a:p>
            <a:r>
              <a:rPr lang="nb-NO"/>
              <a:t>Dato</a:t>
            </a:r>
          </a:p>
        </p:txBody>
      </p:sp>
      <p:sp>
        <p:nvSpPr>
          <p:cNvPr id="6" name="Slide Number Placeholder 5"/>
          <p:cNvSpPr>
            <a:spLocks noGrp="1"/>
          </p:cNvSpPr>
          <p:nvPr>
            <p:ph type="sldNum" sz="quarter" idx="12"/>
          </p:nvPr>
        </p:nvSpPr>
        <p:spPr/>
        <p:txBody>
          <a:bodyPr/>
          <a:lstStyle>
            <a:lvl1pPr>
              <a:defRPr>
                <a:solidFill>
                  <a:schemeClr val="dk1"/>
                </a:solidFill>
              </a:defRPr>
            </a:lvl1pPr>
          </a:lstStyle>
          <a:p>
            <a:fld id="{D5DAC896-3290-4F14-BAAE-6BA5F8CCFA8A}" type="slidenum">
              <a:rPr lang="nb-NO" smtClean="0"/>
              <a:pPr/>
              <a:t>‹#›</a:t>
            </a:fld>
            <a:endParaRPr lang="nb-NO"/>
          </a:p>
        </p:txBody>
      </p:sp>
      <p:cxnSp>
        <p:nvCxnSpPr>
          <p:cNvPr id="12" name="Rett linje 11">
            <a:extLst>
              <a:ext uri="{FF2B5EF4-FFF2-40B4-BE49-F238E27FC236}">
                <a16:creationId xmlns:a16="http://schemas.microsoft.com/office/drawing/2014/main" id="{D3B42DDA-8EFD-4B16-8A49-1565A3F39BC2}"/>
              </a:ext>
            </a:extLst>
          </p:cNvPr>
          <p:cNvCxnSpPr/>
          <p:nvPr userDrawn="1"/>
        </p:nvCxnSpPr>
        <p:spPr>
          <a:xfrm>
            <a:off x="410176" y="6644201"/>
            <a:ext cx="0" cy="1082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9" name="Bilde 8">
            <a:extLst>
              <a:ext uri="{FF2B5EF4-FFF2-40B4-BE49-F238E27FC236}">
                <a16:creationId xmlns:a16="http://schemas.microsoft.com/office/drawing/2014/main" id="{1D65297D-FE51-4C1A-8FF0-8D710695D7F3}"/>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47291"/>
          <a:stretch/>
        </p:blipFill>
        <p:spPr>
          <a:xfrm>
            <a:off x="9147182" y="6538622"/>
            <a:ext cx="3044818" cy="319378"/>
          </a:xfrm>
          <a:prstGeom prst="rect">
            <a:avLst/>
          </a:prstGeom>
        </p:spPr>
      </p:pic>
      <p:pic>
        <p:nvPicPr>
          <p:cNvPr id="10" name="Bilde 9">
            <a:extLst>
              <a:ext uri="{FF2B5EF4-FFF2-40B4-BE49-F238E27FC236}">
                <a16:creationId xmlns:a16="http://schemas.microsoft.com/office/drawing/2014/main" id="{98BBE067-CB41-4B13-BB45-85EAB4D9591C}"/>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4983540" y="6617793"/>
            <a:ext cx="2224907" cy="113604"/>
          </a:xfrm>
          <a:prstGeom prst="rect">
            <a:avLst/>
          </a:prstGeom>
        </p:spPr>
      </p:pic>
    </p:spTree>
    <p:extLst>
      <p:ext uri="{BB962C8B-B14F-4D97-AF65-F5344CB8AC3E}">
        <p14:creationId xmlns:p14="http://schemas.microsoft.com/office/powerpoint/2010/main" val="42471140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ilde, tittel og tekst">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2263A8B9-16D7-422B-AA44-1245FB19D128}"/>
              </a:ext>
            </a:extLst>
          </p:cNvPr>
          <p:cNvSpPr>
            <a:spLocks noGrp="1"/>
          </p:cNvSpPr>
          <p:nvPr>
            <p:ph type="pic" sz="quarter" idx="13"/>
          </p:nvPr>
        </p:nvSpPr>
        <p:spPr>
          <a:xfrm>
            <a:off x="168792" y="126601"/>
            <a:ext cx="11855928" cy="2658569"/>
          </a:xfrm>
        </p:spPr>
        <p:txBody>
          <a:bodyPr/>
          <a:lstStyle/>
          <a:p>
            <a:r>
              <a:rPr lang="nb-NO"/>
              <a:t>Klikk ikonet for å legge til et bilde</a:t>
            </a:r>
          </a:p>
        </p:txBody>
      </p:sp>
      <p:sp>
        <p:nvSpPr>
          <p:cNvPr id="10" name="Rektangel 9">
            <a:extLst>
              <a:ext uri="{FF2B5EF4-FFF2-40B4-BE49-F238E27FC236}">
                <a16:creationId xmlns:a16="http://schemas.microsoft.com/office/drawing/2014/main" id="{C2E28AF3-910C-4B39-B2C6-0E6552096922}"/>
              </a:ext>
            </a:extLst>
          </p:cNvPr>
          <p:cNvSpPr/>
          <p:nvPr userDrawn="1"/>
        </p:nvSpPr>
        <p:spPr>
          <a:xfrm>
            <a:off x="1" y="6517314"/>
            <a:ext cx="12192000" cy="3406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66"/>
          </a:p>
        </p:txBody>
      </p:sp>
      <p:sp>
        <p:nvSpPr>
          <p:cNvPr id="2" name="Title 1"/>
          <p:cNvSpPr>
            <a:spLocks noGrp="1"/>
          </p:cNvSpPr>
          <p:nvPr>
            <p:ph type="title"/>
          </p:nvPr>
        </p:nvSpPr>
        <p:spPr>
          <a:xfrm>
            <a:off x="1350334" y="3211864"/>
            <a:ext cx="8945949" cy="584390"/>
          </a:xfrm>
        </p:spPr>
        <p:txBody>
          <a:bodyPr>
            <a:spAutoFit/>
          </a:bodyPr>
          <a:lstStyle/>
          <a:p>
            <a:r>
              <a:rPr lang="nb-NO"/>
              <a:t>Klikk for å redigere tittelstil</a:t>
            </a:r>
            <a:endParaRPr lang="en-US" dirty="0"/>
          </a:p>
        </p:txBody>
      </p:sp>
      <p:sp>
        <p:nvSpPr>
          <p:cNvPr id="3" name="Content Placeholder 2"/>
          <p:cNvSpPr>
            <a:spLocks noGrp="1"/>
          </p:cNvSpPr>
          <p:nvPr>
            <p:ph idx="1"/>
          </p:nvPr>
        </p:nvSpPr>
        <p:spPr>
          <a:xfrm>
            <a:off x="1350335" y="4022587"/>
            <a:ext cx="8945950" cy="2154377"/>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r>
              <a:rPr lang="nb-NO"/>
              <a:t>Dato</a:t>
            </a:r>
          </a:p>
        </p:txBody>
      </p:sp>
      <p:sp>
        <p:nvSpPr>
          <p:cNvPr id="6" name="Slide Number Placeholder 5"/>
          <p:cNvSpPr>
            <a:spLocks noGrp="1"/>
          </p:cNvSpPr>
          <p:nvPr>
            <p:ph type="sldNum" sz="quarter" idx="12"/>
          </p:nvPr>
        </p:nvSpPr>
        <p:spPr/>
        <p:txBody>
          <a:bodyPr/>
          <a:lstStyle/>
          <a:p>
            <a:fld id="{D5DAC896-3290-4F14-BAAE-6BA5F8CCFA8A}" type="slidenum">
              <a:rPr lang="nb-NO" smtClean="0"/>
              <a:t>‹#›</a:t>
            </a:fld>
            <a:endParaRPr lang="nb-NO"/>
          </a:p>
        </p:txBody>
      </p:sp>
      <p:cxnSp>
        <p:nvCxnSpPr>
          <p:cNvPr id="18" name="Rett linje 17">
            <a:extLst>
              <a:ext uri="{FF2B5EF4-FFF2-40B4-BE49-F238E27FC236}">
                <a16:creationId xmlns:a16="http://schemas.microsoft.com/office/drawing/2014/main" id="{A0B9A65C-120D-44A5-B4E1-898D63953076}"/>
              </a:ext>
            </a:extLst>
          </p:cNvPr>
          <p:cNvCxnSpPr/>
          <p:nvPr userDrawn="1"/>
        </p:nvCxnSpPr>
        <p:spPr>
          <a:xfrm>
            <a:off x="410176" y="6644201"/>
            <a:ext cx="0" cy="108220"/>
          </a:xfrm>
          <a:prstGeom prst="line">
            <a:avLst/>
          </a:prstGeom>
          <a:ln w="12700">
            <a:solidFill>
              <a:schemeClr val="lt1"/>
            </a:solidFill>
          </a:ln>
        </p:spPr>
        <p:style>
          <a:lnRef idx="1">
            <a:schemeClr val="accent1"/>
          </a:lnRef>
          <a:fillRef idx="0">
            <a:schemeClr val="accent1"/>
          </a:fillRef>
          <a:effectRef idx="0">
            <a:schemeClr val="accent1"/>
          </a:effectRef>
          <a:fontRef idx="minor">
            <a:schemeClr val="tx1"/>
          </a:fontRef>
        </p:style>
      </p:cxnSp>
      <p:sp>
        <p:nvSpPr>
          <p:cNvPr id="12" name="Plassholder for tekst 15">
            <a:extLst>
              <a:ext uri="{FF2B5EF4-FFF2-40B4-BE49-F238E27FC236}">
                <a16:creationId xmlns:a16="http://schemas.microsoft.com/office/drawing/2014/main" id="{704CC97B-3881-47E4-A14F-D65AB42ED39A}"/>
              </a:ext>
            </a:extLst>
          </p:cNvPr>
          <p:cNvSpPr>
            <a:spLocks noGrp="1"/>
          </p:cNvSpPr>
          <p:nvPr>
            <p:ph type="body" sz="quarter" idx="17" hasCustomPrompt="1"/>
          </p:nvPr>
        </p:nvSpPr>
        <p:spPr>
          <a:xfrm>
            <a:off x="10758710" y="344255"/>
            <a:ext cx="1012654" cy="1012665"/>
          </a:xfrm>
          <a:prstGeom prst="ellipse">
            <a:avLst/>
          </a:prstGeom>
          <a:solidFill>
            <a:srgbClr val="005F64">
              <a:alpha val="69804"/>
            </a:srgbClr>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3" name="Plassholder for tekst 15">
            <a:extLst>
              <a:ext uri="{FF2B5EF4-FFF2-40B4-BE49-F238E27FC236}">
                <a16:creationId xmlns:a16="http://schemas.microsoft.com/office/drawing/2014/main" id="{01F19E00-B936-4049-8A25-1690992439D2}"/>
              </a:ext>
            </a:extLst>
          </p:cNvPr>
          <p:cNvSpPr>
            <a:spLocks noGrp="1"/>
          </p:cNvSpPr>
          <p:nvPr>
            <p:ph type="body" sz="quarter" idx="18" hasCustomPrompt="1"/>
          </p:nvPr>
        </p:nvSpPr>
        <p:spPr>
          <a:xfrm>
            <a:off x="10758710" y="344255"/>
            <a:ext cx="1012654" cy="1012665"/>
          </a:xfrm>
          <a:prstGeom prst="ellipse">
            <a:avLst/>
          </a:prstGeom>
          <a:blipFill dpi="0" rotWithShape="1">
            <a:blip r:embed="rId2"/>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pic>
        <p:nvPicPr>
          <p:cNvPr id="14" name="Bilde 13">
            <a:extLst>
              <a:ext uri="{FF2B5EF4-FFF2-40B4-BE49-F238E27FC236}">
                <a16:creationId xmlns:a16="http://schemas.microsoft.com/office/drawing/2014/main" id="{AE5218B0-0F5E-4AE0-97FB-2D3D916CA095}"/>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499819" y="6592209"/>
            <a:ext cx="2692181" cy="265791"/>
          </a:xfrm>
          <a:prstGeom prst="rect">
            <a:avLst/>
          </a:prstGeom>
        </p:spPr>
      </p:pic>
    </p:spTree>
    <p:extLst>
      <p:ext uri="{BB962C8B-B14F-4D97-AF65-F5344CB8AC3E}">
        <p14:creationId xmlns:p14="http://schemas.microsoft.com/office/powerpoint/2010/main" val="23481560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tel, ingress, bilde og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4" name="Date Placeholder 3"/>
          <p:cNvSpPr>
            <a:spLocks noGrp="1"/>
          </p:cNvSpPr>
          <p:nvPr>
            <p:ph type="dt" sz="half" idx="10"/>
          </p:nvPr>
        </p:nvSpPr>
        <p:spPr/>
        <p:txBody>
          <a:bodyPr/>
          <a:lstStyle/>
          <a:p>
            <a:r>
              <a:rPr lang="nb-NO"/>
              <a:t>Dato</a:t>
            </a:r>
          </a:p>
        </p:txBody>
      </p:sp>
      <p:sp>
        <p:nvSpPr>
          <p:cNvPr id="6" name="Slide Number Placeholder 5"/>
          <p:cNvSpPr>
            <a:spLocks noGrp="1"/>
          </p:cNvSpPr>
          <p:nvPr>
            <p:ph type="sldNum" sz="quarter" idx="12"/>
          </p:nvPr>
        </p:nvSpPr>
        <p:spPr/>
        <p:txBody>
          <a:bodyPr/>
          <a:lstStyle/>
          <a:p>
            <a:fld id="{D5DAC896-3290-4F14-BAAE-6BA5F8CCFA8A}" type="slidenum">
              <a:rPr lang="nb-NO" smtClean="0"/>
              <a:t>‹#›</a:t>
            </a:fld>
            <a:endParaRPr lang="nb-NO"/>
          </a:p>
        </p:txBody>
      </p:sp>
      <p:sp>
        <p:nvSpPr>
          <p:cNvPr id="8" name="Plassholder for tekst 7">
            <a:extLst>
              <a:ext uri="{FF2B5EF4-FFF2-40B4-BE49-F238E27FC236}">
                <a16:creationId xmlns:a16="http://schemas.microsoft.com/office/drawing/2014/main" id="{77928EF2-103F-4C47-A62A-EA181BEF62DC}"/>
              </a:ext>
            </a:extLst>
          </p:cNvPr>
          <p:cNvSpPr>
            <a:spLocks noGrp="1"/>
          </p:cNvSpPr>
          <p:nvPr>
            <p:ph type="body" sz="quarter" idx="13" hasCustomPrompt="1"/>
          </p:nvPr>
        </p:nvSpPr>
        <p:spPr>
          <a:xfrm>
            <a:off x="1350035" y="1571425"/>
            <a:ext cx="8945950" cy="772107"/>
          </a:xfrm>
        </p:spPr>
        <p:txBody>
          <a:bodyPr>
            <a:noAutofit/>
          </a:bodyPr>
          <a:lstStyle>
            <a:lvl1pPr marL="0" indent="0">
              <a:buNone/>
              <a:defRPr sz="2602" b="1"/>
            </a:lvl1pPr>
          </a:lstStyle>
          <a:p>
            <a:pPr lvl="0"/>
            <a:r>
              <a:rPr lang="nb-NO" dirty="0"/>
              <a:t>Ingress</a:t>
            </a:r>
          </a:p>
        </p:txBody>
      </p:sp>
      <p:sp>
        <p:nvSpPr>
          <p:cNvPr id="10" name="Plassholder for bilde 9">
            <a:extLst>
              <a:ext uri="{FF2B5EF4-FFF2-40B4-BE49-F238E27FC236}">
                <a16:creationId xmlns:a16="http://schemas.microsoft.com/office/drawing/2014/main" id="{A91273AD-E16D-4FA6-A765-406B2671A9FD}"/>
              </a:ext>
            </a:extLst>
          </p:cNvPr>
          <p:cNvSpPr>
            <a:spLocks noGrp="1"/>
          </p:cNvSpPr>
          <p:nvPr>
            <p:ph type="pic" sz="quarter" idx="14"/>
          </p:nvPr>
        </p:nvSpPr>
        <p:spPr>
          <a:xfrm>
            <a:off x="1350036" y="2466147"/>
            <a:ext cx="4321365" cy="2534213"/>
          </a:xfrm>
        </p:spPr>
        <p:txBody>
          <a:bodyPr/>
          <a:lstStyle/>
          <a:p>
            <a:r>
              <a:rPr lang="nb-NO"/>
              <a:t>Klikk ikonet for å legge til et bilde</a:t>
            </a:r>
            <a:endParaRPr lang="nb-NO" dirty="0"/>
          </a:p>
        </p:txBody>
      </p:sp>
      <p:sp>
        <p:nvSpPr>
          <p:cNvPr id="13" name="Content Placeholder 2">
            <a:extLst>
              <a:ext uri="{FF2B5EF4-FFF2-40B4-BE49-F238E27FC236}">
                <a16:creationId xmlns:a16="http://schemas.microsoft.com/office/drawing/2014/main" id="{CCDAA76C-CA59-4E53-B118-1BE8AF9C7537}"/>
              </a:ext>
            </a:extLst>
          </p:cNvPr>
          <p:cNvSpPr>
            <a:spLocks noGrp="1"/>
          </p:cNvSpPr>
          <p:nvPr>
            <p:ph idx="15"/>
          </p:nvPr>
        </p:nvSpPr>
        <p:spPr>
          <a:xfrm>
            <a:off x="5974918" y="2464998"/>
            <a:ext cx="4321067" cy="371196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Tree>
    <p:extLst>
      <p:ext uri="{BB962C8B-B14F-4D97-AF65-F5344CB8AC3E}">
        <p14:creationId xmlns:p14="http://schemas.microsoft.com/office/powerpoint/2010/main" val="2140839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5" name="Date Placeholder 4"/>
          <p:cNvSpPr>
            <a:spLocks noGrp="1"/>
          </p:cNvSpPr>
          <p:nvPr>
            <p:ph type="dt" sz="half" idx="10"/>
          </p:nvPr>
        </p:nvSpPr>
        <p:spPr/>
        <p:txBody>
          <a:bodyPr/>
          <a:lstStyle/>
          <a:p>
            <a:r>
              <a:rPr lang="nb-NO"/>
              <a:t>Dato</a:t>
            </a:r>
          </a:p>
        </p:txBody>
      </p:sp>
      <p:sp>
        <p:nvSpPr>
          <p:cNvPr id="7" name="Slide Number Placeholder 6"/>
          <p:cNvSpPr>
            <a:spLocks noGrp="1"/>
          </p:cNvSpPr>
          <p:nvPr>
            <p:ph type="sldNum" sz="quarter" idx="12"/>
          </p:nvPr>
        </p:nvSpPr>
        <p:spPr/>
        <p:txBody>
          <a:bodyPr/>
          <a:lstStyle/>
          <a:p>
            <a:fld id="{D5DAC896-3290-4F14-BAAE-6BA5F8CCFA8A}" type="slidenum">
              <a:rPr lang="nb-NO" smtClean="0"/>
              <a:t>‹#›</a:t>
            </a:fld>
            <a:endParaRPr lang="nb-NO"/>
          </a:p>
        </p:txBody>
      </p:sp>
      <p:sp>
        <p:nvSpPr>
          <p:cNvPr id="8" name="Plassholder for tekst 7">
            <a:extLst>
              <a:ext uri="{FF2B5EF4-FFF2-40B4-BE49-F238E27FC236}">
                <a16:creationId xmlns:a16="http://schemas.microsoft.com/office/drawing/2014/main" id="{0F077D80-2445-467A-B6EA-3B1C5BD49298}"/>
              </a:ext>
            </a:extLst>
          </p:cNvPr>
          <p:cNvSpPr>
            <a:spLocks noGrp="1"/>
          </p:cNvSpPr>
          <p:nvPr>
            <p:ph type="body" sz="quarter" idx="13" hasCustomPrompt="1"/>
          </p:nvPr>
        </p:nvSpPr>
        <p:spPr>
          <a:xfrm>
            <a:off x="1350035" y="1571425"/>
            <a:ext cx="8945950" cy="772107"/>
          </a:xfrm>
        </p:spPr>
        <p:txBody>
          <a:bodyPr>
            <a:noAutofit/>
          </a:bodyPr>
          <a:lstStyle>
            <a:lvl1pPr marL="0" indent="0">
              <a:buNone/>
              <a:defRPr sz="2602" b="1"/>
            </a:lvl1pPr>
          </a:lstStyle>
          <a:p>
            <a:pPr lvl="0"/>
            <a:r>
              <a:rPr lang="nb-NO" dirty="0"/>
              <a:t>Ingress</a:t>
            </a:r>
          </a:p>
        </p:txBody>
      </p:sp>
      <p:sp>
        <p:nvSpPr>
          <p:cNvPr id="9" name="Content Placeholder 2">
            <a:extLst>
              <a:ext uri="{FF2B5EF4-FFF2-40B4-BE49-F238E27FC236}">
                <a16:creationId xmlns:a16="http://schemas.microsoft.com/office/drawing/2014/main" id="{241F201A-41B8-4D42-8F28-C24E0164FE92}"/>
              </a:ext>
            </a:extLst>
          </p:cNvPr>
          <p:cNvSpPr>
            <a:spLocks noGrp="1"/>
          </p:cNvSpPr>
          <p:nvPr>
            <p:ph idx="1"/>
          </p:nvPr>
        </p:nvSpPr>
        <p:spPr>
          <a:xfrm>
            <a:off x="1350335" y="2464998"/>
            <a:ext cx="4321067" cy="371196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10" name="Content Placeholder 2">
            <a:extLst>
              <a:ext uri="{FF2B5EF4-FFF2-40B4-BE49-F238E27FC236}">
                <a16:creationId xmlns:a16="http://schemas.microsoft.com/office/drawing/2014/main" id="{29BF4EEF-79FD-4477-B72B-8F0E2E31EE6B}"/>
              </a:ext>
            </a:extLst>
          </p:cNvPr>
          <p:cNvSpPr>
            <a:spLocks noGrp="1"/>
          </p:cNvSpPr>
          <p:nvPr>
            <p:ph idx="14"/>
          </p:nvPr>
        </p:nvSpPr>
        <p:spPr>
          <a:xfrm>
            <a:off x="5974918" y="2464998"/>
            <a:ext cx="4321067" cy="371196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Tree>
    <p:extLst>
      <p:ext uri="{BB962C8B-B14F-4D97-AF65-F5344CB8AC3E}">
        <p14:creationId xmlns:p14="http://schemas.microsoft.com/office/powerpoint/2010/main" val="6506726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 innholdsdeler (uten ingres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5" name="Date Placeholder 4"/>
          <p:cNvSpPr>
            <a:spLocks noGrp="1"/>
          </p:cNvSpPr>
          <p:nvPr>
            <p:ph type="dt" sz="half" idx="10"/>
          </p:nvPr>
        </p:nvSpPr>
        <p:spPr/>
        <p:txBody>
          <a:bodyPr/>
          <a:lstStyle/>
          <a:p>
            <a:r>
              <a:rPr lang="nb-NO"/>
              <a:t>Dato</a:t>
            </a:r>
          </a:p>
        </p:txBody>
      </p:sp>
      <p:sp>
        <p:nvSpPr>
          <p:cNvPr id="7" name="Slide Number Placeholder 6"/>
          <p:cNvSpPr>
            <a:spLocks noGrp="1"/>
          </p:cNvSpPr>
          <p:nvPr>
            <p:ph type="sldNum" sz="quarter" idx="12"/>
          </p:nvPr>
        </p:nvSpPr>
        <p:spPr/>
        <p:txBody>
          <a:bodyPr/>
          <a:lstStyle/>
          <a:p>
            <a:fld id="{D5DAC896-3290-4F14-BAAE-6BA5F8CCFA8A}" type="slidenum">
              <a:rPr lang="nb-NO" smtClean="0"/>
              <a:t>‹#›</a:t>
            </a:fld>
            <a:endParaRPr lang="nb-NO"/>
          </a:p>
        </p:txBody>
      </p:sp>
      <p:sp>
        <p:nvSpPr>
          <p:cNvPr id="9" name="Content Placeholder 2">
            <a:extLst>
              <a:ext uri="{FF2B5EF4-FFF2-40B4-BE49-F238E27FC236}">
                <a16:creationId xmlns:a16="http://schemas.microsoft.com/office/drawing/2014/main" id="{241F201A-41B8-4D42-8F28-C24E0164FE92}"/>
              </a:ext>
            </a:extLst>
          </p:cNvPr>
          <p:cNvSpPr>
            <a:spLocks noGrp="1"/>
          </p:cNvSpPr>
          <p:nvPr>
            <p:ph idx="1"/>
          </p:nvPr>
        </p:nvSpPr>
        <p:spPr>
          <a:xfrm>
            <a:off x="1350335" y="1571425"/>
            <a:ext cx="4321067" cy="4605541"/>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10" name="Content Placeholder 2">
            <a:extLst>
              <a:ext uri="{FF2B5EF4-FFF2-40B4-BE49-F238E27FC236}">
                <a16:creationId xmlns:a16="http://schemas.microsoft.com/office/drawing/2014/main" id="{29BF4EEF-79FD-4477-B72B-8F0E2E31EE6B}"/>
              </a:ext>
            </a:extLst>
          </p:cNvPr>
          <p:cNvSpPr>
            <a:spLocks noGrp="1"/>
          </p:cNvSpPr>
          <p:nvPr>
            <p:ph idx="14"/>
          </p:nvPr>
        </p:nvSpPr>
        <p:spPr>
          <a:xfrm>
            <a:off x="5974918" y="1571425"/>
            <a:ext cx="4321067" cy="4605541"/>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Tree>
    <p:extLst>
      <p:ext uri="{BB962C8B-B14F-4D97-AF65-F5344CB8AC3E}">
        <p14:creationId xmlns:p14="http://schemas.microsoft.com/office/powerpoint/2010/main" val="12544182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itat">
    <p:bg>
      <p:bgPr>
        <a:solidFill>
          <a:schemeClr val="lt1"/>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7DAC0AFD-A0A0-4165-A09D-E8CA745C8F63}"/>
              </a:ext>
            </a:extLst>
          </p:cNvPr>
          <p:cNvSpPr/>
          <p:nvPr userDrawn="1"/>
        </p:nvSpPr>
        <p:spPr>
          <a:xfrm>
            <a:off x="168793" y="126603"/>
            <a:ext cx="11854403" cy="63805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66"/>
          </a:p>
        </p:txBody>
      </p:sp>
      <p:sp>
        <p:nvSpPr>
          <p:cNvPr id="2" name="Title 1"/>
          <p:cNvSpPr>
            <a:spLocks noGrp="1"/>
          </p:cNvSpPr>
          <p:nvPr>
            <p:ph type="title"/>
          </p:nvPr>
        </p:nvSpPr>
        <p:spPr>
          <a:xfrm>
            <a:off x="838201" y="2802059"/>
            <a:ext cx="10515600" cy="584390"/>
          </a:xfrm>
        </p:spPr>
        <p:txBody>
          <a:bodyPr anchor="ctr">
            <a:spAutoFit/>
          </a:bodyPr>
          <a:lstStyle>
            <a:lvl1pPr algn="ctr">
              <a:lnSpc>
                <a:spcPct val="100000"/>
              </a:lnSpc>
              <a:defRPr sz="3797">
                <a:solidFill>
                  <a:schemeClr val="lt1"/>
                </a:solidFill>
              </a:defRPr>
            </a:lvl1pPr>
          </a:lstStyle>
          <a:p>
            <a:r>
              <a:rPr lang="nb-NO"/>
              <a:t>Klikk for å redigere tittelstil</a:t>
            </a:r>
            <a:endParaRPr lang="en-US" dirty="0"/>
          </a:p>
        </p:txBody>
      </p:sp>
      <p:pic>
        <p:nvPicPr>
          <p:cNvPr id="8" name="Bilde 7">
            <a:extLst>
              <a:ext uri="{FF2B5EF4-FFF2-40B4-BE49-F238E27FC236}">
                <a16:creationId xmlns:a16="http://schemas.microsoft.com/office/drawing/2014/main" id="{ABD2E6C4-5BFA-470B-8E57-3F6125120A4B}"/>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47291"/>
          <a:stretch/>
        </p:blipFill>
        <p:spPr>
          <a:xfrm>
            <a:off x="9147182" y="6538622"/>
            <a:ext cx="3044818" cy="319378"/>
          </a:xfrm>
          <a:prstGeom prst="rect">
            <a:avLst/>
          </a:prstGeom>
        </p:spPr>
      </p:pic>
      <p:pic>
        <p:nvPicPr>
          <p:cNvPr id="9" name="Bilde 8">
            <a:extLst>
              <a:ext uri="{FF2B5EF4-FFF2-40B4-BE49-F238E27FC236}">
                <a16:creationId xmlns:a16="http://schemas.microsoft.com/office/drawing/2014/main" id="{D3E2C70F-6117-45CF-A704-6BB5CE9F61D5}"/>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4983540" y="6617793"/>
            <a:ext cx="2224907" cy="113604"/>
          </a:xfrm>
          <a:prstGeom prst="rect">
            <a:avLst/>
          </a:prstGeom>
        </p:spPr>
      </p:pic>
      <p:sp>
        <p:nvSpPr>
          <p:cNvPr id="10" name="Date Placeholder 3">
            <a:extLst>
              <a:ext uri="{FF2B5EF4-FFF2-40B4-BE49-F238E27FC236}">
                <a16:creationId xmlns:a16="http://schemas.microsoft.com/office/drawing/2014/main" id="{E13A9F36-52E5-4BE4-B559-B6167736559C}"/>
              </a:ext>
            </a:extLst>
          </p:cNvPr>
          <p:cNvSpPr>
            <a:spLocks noGrp="1"/>
          </p:cNvSpPr>
          <p:nvPr>
            <p:ph type="dt" sz="half" idx="10"/>
          </p:nvPr>
        </p:nvSpPr>
        <p:spPr>
          <a:xfrm>
            <a:off x="498065" y="6633484"/>
            <a:ext cx="2743200" cy="108220"/>
          </a:xfrm>
        </p:spPr>
        <p:txBody>
          <a:bodyPr/>
          <a:lstStyle>
            <a:lvl1pPr>
              <a:defRPr>
                <a:solidFill>
                  <a:schemeClr val="dk1"/>
                </a:solidFill>
              </a:defRPr>
            </a:lvl1pPr>
          </a:lstStyle>
          <a:p>
            <a:r>
              <a:rPr lang="nb-NO"/>
              <a:t>Dato</a:t>
            </a:r>
          </a:p>
        </p:txBody>
      </p:sp>
      <p:sp>
        <p:nvSpPr>
          <p:cNvPr id="11" name="Slide Number Placeholder 5">
            <a:extLst>
              <a:ext uri="{FF2B5EF4-FFF2-40B4-BE49-F238E27FC236}">
                <a16:creationId xmlns:a16="http://schemas.microsoft.com/office/drawing/2014/main" id="{D5CDA8D6-555F-401B-8FA2-920084093FDE}"/>
              </a:ext>
            </a:extLst>
          </p:cNvPr>
          <p:cNvSpPr>
            <a:spLocks noGrp="1"/>
          </p:cNvSpPr>
          <p:nvPr>
            <p:ph type="sldNum" sz="quarter" idx="12"/>
          </p:nvPr>
        </p:nvSpPr>
        <p:spPr>
          <a:xfrm>
            <a:off x="130932" y="6633484"/>
            <a:ext cx="188053" cy="108220"/>
          </a:xfrm>
        </p:spPr>
        <p:txBody>
          <a:bodyPr/>
          <a:lstStyle>
            <a:lvl1pPr>
              <a:defRPr>
                <a:solidFill>
                  <a:schemeClr val="dk1"/>
                </a:solidFill>
              </a:defRPr>
            </a:lvl1pPr>
          </a:lstStyle>
          <a:p>
            <a:fld id="{D5DAC896-3290-4F14-BAAE-6BA5F8CCFA8A}" type="slidenum">
              <a:rPr lang="nb-NO" smtClean="0"/>
              <a:pPr/>
              <a:t>‹#›</a:t>
            </a:fld>
            <a:endParaRPr lang="nb-NO"/>
          </a:p>
        </p:txBody>
      </p:sp>
      <p:cxnSp>
        <p:nvCxnSpPr>
          <p:cNvPr id="12" name="Rett linje 11">
            <a:extLst>
              <a:ext uri="{FF2B5EF4-FFF2-40B4-BE49-F238E27FC236}">
                <a16:creationId xmlns:a16="http://schemas.microsoft.com/office/drawing/2014/main" id="{BA35BC83-5F26-4A2F-9756-70611207302E}"/>
              </a:ext>
            </a:extLst>
          </p:cNvPr>
          <p:cNvCxnSpPr/>
          <p:nvPr userDrawn="1"/>
        </p:nvCxnSpPr>
        <p:spPr>
          <a:xfrm>
            <a:off x="410176" y="6644201"/>
            <a:ext cx="0" cy="1082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58739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Date Placeholder 2"/>
          <p:cNvSpPr>
            <a:spLocks noGrp="1"/>
          </p:cNvSpPr>
          <p:nvPr>
            <p:ph type="dt" sz="half" idx="10"/>
          </p:nvPr>
        </p:nvSpPr>
        <p:spPr/>
        <p:txBody>
          <a:bodyPr/>
          <a:lstStyle/>
          <a:p>
            <a:r>
              <a:rPr lang="nb-NO"/>
              <a:t>Dato</a:t>
            </a:r>
          </a:p>
        </p:txBody>
      </p:sp>
      <p:sp>
        <p:nvSpPr>
          <p:cNvPr id="5" name="Slide Number Placeholder 4"/>
          <p:cNvSpPr>
            <a:spLocks noGrp="1"/>
          </p:cNvSpPr>
          <p:nvPr>
            <p:ph type="sldNum" sz="quarter" idx="12"/>
          </p:nvPr>
        </p:nvSpPr>
        <p:spPr/>
        <p:txBody>
          <a:bodyPr/>
          <a:lstStyle/>
          <a:p>
            <a:fld id="{D5DAC896-3290-4F14-BAAE-6BA5F8CCFA8A}" type="slidenum">
              <a:rPr lang="nb-NO" smtClean="0"/>
              <a:t>‹#›</a:t>
            </a:fld>
            <a:endParaRPr lang="nb-NO"/>
          </a:p>
        </p:txBody>
      </p:sp>
    </p:spTree>
    <p:extLst>
      <p:ext uri="{BB962C8B-B14F-4D97-AF65-F5344CB8AC3E}">
        <p14:creationId xmlns:p14="http://schemas.microsoft.com/office/powerpoint/2010/main" val="35680875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nb-NO"/>
              <a:t>Dato</a:t>
            </a:r>
          </a:p>
        </p:txBody>
      </p:sp>
      <p:sp>
        <p:nvSpPr>
          <p:cNvPr id="4" name="Slide Number Placeholder 3"/>
          <p:cNvSpPr>
            <a:spLocks noGrp="1"/>
          </p:cNvSpPr>
          <p:nvPr>
            <p:ph type="sldNum" sz="quarter" idx="12"/>
          </p:nvPr>
        </p:nvSpPr>
        <p:spPr/>
        <p:txBody>
          <a:bodyPr/>
          <a:lstStyle/>
          <a:p>
            <a:fld id="{D5DAC896-3290-4F14-BAAE-6BA5F8CCFA8A}" type="slidenum">
              <a:rPr lang="nb-NO" smtClean="0"/>
              <a:t>‹#›</a:t>
            </a:fld>
            <a:endParaRPr lang="nb-NO"/>
          </a:p>
        </p:txBody>
      </p:sp>
    </p:spTree>
    <p:extLst>
      <p:ext uri="{BB962C8B-B14F-4D97-AF65-F5344CB8AC3E}">
        <p14:creationId xmlns:p14="http://schemas.microsoft.com/office/powerpoint/2010/main" val="13138493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1_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nb-NO"/>
              <a:t>Dato</a:t>
            </a:r>
          </a:p>
        </p:txBody>
      </p:sp>
      <p:sp>
        <p:nvSpPr>
          <p:cNvPr id="4" name="Slide Number Placeholder 3"/>
          <p:cNvSpPr>
            <a:spLocks noGrp="1"/>
          </p:cNvSpPr>
          <p:nvPr>
            <p:ph type="sldNum" sz="quarter" idx="12"/>
          </p:nvPr>
        </p:nvSpPr>
        <p:spPr/>
        <p:txBody>
          <a:bodyPr/>
          <a:lstStyle/>
          <a:p>
            <a:fld id="{D5DAC896-3290-4F14-BAAE-6BA5F8CCFA8A}" type="slidenum">
              <a:rPr lang="nb-NO" smtClean="0"/>
              <a:t>‹#›</a:t>
            </a:fld>
            <a:endParaRPr lang="nb-NO"/>
          </a:p>
        </p:txBody>
      </p:sp>
    </p:spTree>
    <p:extLst>
      <p:ext uri="{BB962C8B-B14F-4D97-AF65-F5344CB8AC3E}">
        <p14:creationId xmlns:p14="http://schemas.microsoft.com/office/powerpoint/2010/main" val="39335665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_slid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99600" cy="832837"/>
          </a:xfrm>
          <a:prstGeom prst="rect">
            <a:avLst/>
          </a:prstGeom>
        </p:spPr>
      </p:pic>
      <p:sp>
        <p:nvSpPr>
          <p:cNvPr id="2" name="Title 1"/>
          <p:cNvSpPr>
            <a:spLocks noGrp="1"/>
          </p:cNvSpPr>
          <p:nvPr>
            <p:ph type="ctrTitle"/>
          </p:nvPr>
        </p:nvSpPr>
        <p:spPr>
          <a:xfrm>
            <a:off x="550866" y="2348880"/>
            <a:ext cx="9217025" cy="2160240"/>
          </a:xfrm>
        </p:spPr>
        <p:txBody>
          <a:bodyPr anchor="t" anchorCtr="0"/>
          <a:lstStyle>
            <a:lvl1pPr algn="l">
              <a:defRPr sz="5000" b="1">
                <a:solidFill>
                  <a:schemeClr val="accent2"/>
                </a:solidFill>
              </a:defRPr>
            </a:lvl1pPr>
          </a:lstStyle>
          <a:p>
            <a:r>
              <a:rPr lang="nb-NO"/>
              <a:t>Klikk for å redigere tittelstil</a:t>
            </a:r>
            <a:endParaRPr lang="en-US" dirty="0"/>
          </a:p>
        </p:txBody>
      </p:sp>
      <p:sp>
        <p:nvSpPr>
          <p:cNvPr id="3" name="Subtitle 2"/>
          <p:cNvSpPr>
            <a:spLocks noGrp="1"/>
          </p:cNvSpPr>
          <p:nvPr>
            <p:ph type="subTitle" idx="1"/>
          </p:nvPr>
        </p:nvSpPr>
        <p:spPr>
          <a:xfrm>
            <a:off x="550866" y="1484313"/>
            <a:ext cx="9217025" cy="721022"/>
          </a:xfrm>
        </p:spPr>
        <p:txBody>
          <a:bodyPr anchor="b" anchorCtr="0"/>
          <a:lstStyle>
            <a:lvl1pPr marL="0" indent="0" algn="l">
              <a:buNone/>
              <a:defRPr sz="20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US" dirty="0"/>
          </a:p>
        </p:txBody>
      </p:sp>
      <p:sp>
        <p:nvSpPr>
          <p:cNvPr id="4" name="Date Placeholder 3"/>
          <p:cNvSpPr>
            <a:spLocks noGrp="1"/>
          </p:cNvSpPr>
          <p:nvPr>
            <p:ph type="dt" sz="half" idx="10"/>
          </p:nvPr>
        </p:nvSpPr>
        <p:spPr>
          <a:noFill/>
        </p:spPr>
        <p:txBody>
          <a:bodyPr/>
          <a:lstStyle>
            <a:lvl1pPr>
              <a:defRPr>
                <a:noFill/>
              </a:defRPr>
            </a:lvl1pPr>
          </a:lstStyle>
          <a:p>
            <a:fld id="{9F390351-5F38-4866-9229-50C503077A18}" type="datetime1">
              <a:rPr lang="en-US" smtClean="0"/>
              <a:t>5/29/19</a:t>
            </a:fld>
            <a:endParaRPr lang="en-US"/>
          </a:p>
        </p:txBody>
      </p:sp>
      <p:sp>
        <p:nvSpPr>
          <p:cNvPr id="5" name="Footer Placeholder 4"/>
          <p:cNvSpPr>
            <a:spLocks noGrp="1"/>
          </p:cNvSpPr>
          <p:nvPr>
            <p:ph type="ftr" sz="quarter" idx="11"/>
          </p:nvPr>
        </p:nvSpPr>
        <p:spPr>
          <a:noFill/>
        </p:spPr>
        <p:txBody>
          <a:bodyPr/>
          <a:lstStyle>
            <a:lvl1pPr>
              <a:defRPr>
                <a:noFill/>
              </a:defRPr>
            </a:lvl1pPr>
          </a:lstStyle>
          <a:p>
            <a:endParaRPr lang="en-US"/>
          </a:p>
        </p:txBody>
      </p:sp>
      <p:sp>
        <p:nvSpPr>
          <p:cNvPr id="6" name="Slide Number Placeholder 5"/>
          <p:cNvSpPr>
            <a:spLocks noGrp="1"/>
          </p:cNvSpPr>
          <p:nvPr>
            <p:ph type="sldNum" sz="quarter" idx="12"/>
          </p:nvPr>
        </p:nvSpPr>
        <p:spPr>
          <a:noFill/>
        </p:spPr>
        <p:txBody>
          <a:bodyPr/>
          <a:lstStyle>
            <a:lvl1pPr>
              <a:defRPr>
                <a:noFill/>
              </a:defRPr>
            </a:lvl1pPr>
          </a:lstStyle>
          <a:p>
            <a:fld id="{F90E5A77-D385-4CDE-8FE8-D3E3CBE93E71}" type="slidenum">
              <a:rPr lang="en-US" smtClean="0"/>
              <a:pPr/>
              <a:t>‹#›</a:t>
            </a:fld>
            <a:endParaRPr lang="en-US"/>
          </a:p>
        </p:txBody>
      </p:sp>
      <p:sp>
        <p:nvSpPr>
          <p:cNvPr id="12" name="Text Placeholder 11"/>
          <p:cNvSpPr>
            <a:spLocks noGrp="1"/>
          </p:cNvSpPr>
          <p:nvPr>
            <p:ph type="body" sz="quarter" idx="13" hasCustomPrompt="1"/>
          </p:nvPr>
        </p:nvSpPr>
        <p:spPr>
          <a:xfrm>
            <a:off x="550866" y="4653136"/>
            <a:ext cx="9217025" cy="720552"/>
          </a:xfrm>
        </p:spPr>
        <p:txBody>
          <a:bodyPr/>
          <a:lstStyle>
            <a:lvl1pPr marL="0" indent="0">
              <a:buFontTx/>
              <a:buNone/>
              <a:defRPr baseline="0"/>
            </a:lvl1pPr>
          </a:lstStyle>
          <a:p>
            <a:pPr lvl="0"/>
            <a:r>
              <a:rPr lang="en-US" dirty="0"/>
              <a:t>Name / Title / Date</a:t>
            </a:r>
          </a:p>
        </p:txBody>
      </p:sp>
      <p:grpSp>
        <p:nvGrpSpPr>
          <p:cNvPr id="17" name="Group 16"/>
          <p:cNvGrpSpPr>
            <a:grpSpLocks noChangeAspect="1"/>
          </p:cNvGrpSpPr>
          <p:nvPr userDrawn="1"/>
        </p:nvGrpSpPr>
        <p:grpSpPr>
          <a:xfrm>
            <a:off x="10176312" y="5785848"/>
            <a:ext cx="1584176" cy="913626"/>
            <a:chOff x="10176312" y="5785848"/>
            <a:chExt cx="1584176" cy="913626"/>
          </a:xfrm>
        </p:grpSpPr>
        <p:sp>
          <p:nvSpPr>
            <p:cNvPr id="9" name="Freeform 6"/>
            <p:cNvSpPr>
              <a:spLocks/>
            </p:cNvSpPr>
            <p:nvPr userDrawn="1"/>
          </p:nvSpPr>
          <p:spPr bwMode="auto">
            <a:xfrm>
              <a:off x="10297850" y="6211927"/>
              <a:ext cx="1462638" cy="487547"/>
            </a:xfrm>
            <a:custGeom>
              <a:avLst/>
              <a:gdLst>
                <a:gd name="T0" fmla="*/ 0 w 10464"/>
                <a:gd name="T1" fmla="*/ 3488 h 3488"/>
                <a:gd name="T2" fmla="*/ 653 w 10464"/>
                <a:gd name="T3" fmla="*/ 3488 h 3488"/>
                <a:gd name="T4" fmla="*/ 1307 w 10464"/>
                <a:gd name="T5" fmla="*/ 3488 h 3488"/>
                <a:gd name="T6" fmla="*/ 1962 w 10464"/>
                <a:gd name="T7" fmla="*/ 3488 h 3488"/>
                <a:gd name="T8" fmla="*/ 2616 w 10464"/>
                <a:gd name="T9" fmla="*/ 3488 h 3488"/>
                <a:gd name="T10" fmla="*/ 3269 w 10464"/>
                <a:gd name="T11" fmla="*/ 3488 h 3488"/>
                <a:gd name="T12" fmla="*/ 3923 w 10464"/>
                <a:gd name="T13" fmla="*/ 3488 h 3488"/>
                <a:gd name="T14" fmla="*/ 4578 w 10464"/>
                <a:gd name="T15" fmla="*/ 3488 h 3488"/>
                <a:gd name="T16" fmla="*/ 5232 w 10464"/>
                <a:gd name="T17" fmla="*/ 3488 h 3488"/>
                <a:gd name="T18" fmla="*/ 5885 w 10464"/>
                <a:gd name="T19" fmla="*/ 3488 h 3488"/>
                <a:gd name="T20" fmla="*/ 6539 w 10464"/>
                <a:gd name="T21" fmla="*/ 3488 h 3488"/>
                <a:gd name="T22" fmla="*/ 7193 w 10464"/>
                <a:gd name="T23" fmla="*/ 3488 h 3488"/>
                <a:gd name="T24" fmla="*/ 7848 w 10464"/>
                <a:gd name="T25" fmla="*/ 3488 h 3488"/>
                <a:gd name="T26" fmla="*/ 8501 w 10464"/>
                <a:gd name="T27" fmla="*/ 3488 h 3488"/>
                <a:gd name="T28" fmla="*/ 9155 w 10464"/>
                <a:gd name="T29" fmla="*/ 3488 h 3488"/>
                <a:gd name="T30" fmla="*/ 9809 w 10464"/>
                <a:gd name="T31" fmla="*/ 3488 h 3488"/>
                <a:gd name="T32" fmla="*/ 10464 w 10464"/>
                <a:gd name="T33" fmla="*/ 3488 h 3488"/>
                <a:gd name="T34" fmla="*/ 10464 w 10464"/>
                <a:gd name="T35" fmla="*/ 2616 h 3488"/>
                <a:gd name="T36" fmla="*/ 10464 w 10464"/>
                <a:gd name="T37" fmla="*/ 1744 h 3488"/>
                <a:gd name="T38" fmla="*/ 10464 w 10464"/>
                <a:gd name="T39" fmla="*/ 872 h 3488"/>
                <a:gd name="T40" fmla="*/ 10464 w 10464"/>
                <a:gd name="T41" fmla="*/ 0 h 3488"/>
                <a:gd name="T42" fmla="*/ 9809 w 10464"/>
                <a:gd name="T43" fmla="*/ 0 h 3488"/>
                <a:gd name="T44" fmla="*/ 9155 w 10464"/>
                <a:gd name="T45" fmla="*/ 0 h 3488"/>
                <a:gd name="T46" fmla="*/ 8501 w 10464"/>
                <a:gd name="T47" fmla="*/ 0 h 3488"/>
                <a:gd name="T48" fmla="*/ 7848 w 10464"/>
                <a:gd name="T49" fmla="*/ 0 h 3488"/>
                <a:gd name="T50" fmla="*/ 7193 w 10464"/>
                <a:gd name="T51" fmla="*/ 0 h 3488"/>
                <a:gd name="T52" fmla="*/ 6539 w 10464"/>
                <a:gd name="T53" fmla="*/ 0 h 3488"/>
                <a:gd name="T54" fmla="*/ 5885 w 10464"/>
                <a:gd name="T55" fmla="*/ 0 h 3488"/>
                <a:gd name="T56" fmla="*/ 5232 w 10464"/>
                <a:gd name="T57" fmla="*/ 0 h 3488"/>
                <a:gd name="T58" fmla="*/ 4578 w 10464"/>
                <a:gd name="T59" fmla="*/ 0 h 3488"/>
                <a:gd name="T60" fmla="*/ 3923 w 10464"/>
                <a:gd name="T61" fmla="*/ 0 h 3488"/>
                <a:gd name="T62" fmla="*/ 3269 w 10464"/>
                <a:gd name="T63" fmla="*/ 0 h 3488"/>
                <a:gd name="T64" fmla="*/ 2616 w 10464"/>
                <a:gd name="T65" fmla="*/ 0 h 3488"/>
                <a:gd name="T66" fmla="*/ 1962 w 10464"/>
                <a:gd name="T67" fmla="*/ 0 h 3488"/>
                <a:gd name="T68" fmla="*/ 1307 w 10464"/>
                <a:gd name="T69" fmla="*/ 0 h 3488"/>
                <a:gd name="T70" fmla="*/ 653 w 10464"/>
                <a:gd name="T71" fmla="*/ 0 h 3488"/>
                <a:gd name="T72" fmla="*/ 0 w 10464"/>
                <a:gd name="T73" fmla="*/ 0 h 3488"/>
                <a:gd name="T74" fmla="*/ 0 w 10464"/>
                <a:gd name="T75" fmla="*/ 872 h 3488"/>
                <a:gd name="T76" fmla="*/ 0 w 10464"/>
                <a:gd name="T77" fmla="*/ 1744 h 3488"/>
                <a:gd name="T78" fmla="*/ 0 w 10464"/>
                <a:gd name="T79" fmla="*/ 2616 h 3488"/>
                <a:gd name="T80" fmla="*/ 0 w 10464"/>
                <a:gd name="T81" fmla="*/ 3488 h 3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464" h="3488">
                  <a:moveTo>
                    <a:pt x="0" y="3488"/>
                  </a:moveTo>
                  <a:lnTo>
                    <a:pt x="653" y="3488"/>
                  </a:lnTo>
                  <a:lnTo>
                    <a:pt x="1307" y="3488"/>
                  </a:lnTo>
                  <a:lnTo>
                    <a:pt x="1962" y="3488"/>
                  </a:lnTo>
                  <a:lnTo>
                    <a:pt x="2616" y="3488"/>
                  </a:lnTo>
                  <a:lnTo>
                    <a:pt x="3269" y="3488"/>
                  </a:lnTo>
                  <a:lnTo>
                    <a:pt x="3923" y="3488"/>
                  </a:lnTo>
                  <a:lnTo>
                    <a:pt x="4578" y="3488"/>
                  </a:lnTo>
                  <a:lnTo>
                    <a:pt x="5232" y="3488"/>
                  </a:lnTo>
                  <a:lnTo>
                    <a:pt x="5885" y="3488"/>
                  </a:lnTo>
                  <a:lnTo>
                    <a:pt x="6539" y="3488"/>
                  </a:lnTo>
                  <a:lnTo>
                    <a:pt x="7193" y="3488"/>
                  </a:lnTo>
                  <a:lnTo>
                    <a:pt x="7848" y="3488"/>
                  </a:lnTo>
                  <a:lnTo>
                    <a:pt x="8501" y="3488"/>
                  </a:lnTo>
                  <a:lnTo>
                    <a:pt x="9155" y="3488"/>
                  </a:lnTo>
                  <a:lnTo>
                    <a:pt x="9809" y="3488"/>
                  </a:lnTo>
                  <a:lnTo>
                    <a:pt x="10464" y="3488"/>
                  </a:lnTo>
                  <a:lnTo>
                    <a:pt x="10464" y="2616"/>
                  </a:lnTo>
                  <a:lnTo>
                    <a:pt x="10464" y="1744"/>
                  </a:lnTo>
                  <a:lnTo>
                    <a:pt x="10464" y="872"/>
                  </a:lnTo>
                  <a:lnTo>
                    <a:pt x="10464" y="0"/>
                  </a:lnTo>
                  <a:lnTo>
                    <a:pt x="9809" y="0"/>
                  </a:lnTo>
                  <a:lnTo>
                    <a:pt x="9155" y="0"/>
                  </a:lnTo>
                  <a:lnTo>
                    <a:pt x="8501" y="0"/>
                  </a:lnTo>
                  <a:lnTo>
                    <a:pt x="7848" y="0"/>
                  </a:lnTo>
                  <a:lnTo>
                    <a:pt x="7193" y="0"/>
                  </a:lnTo>
                  <a:lnTo>
                    <a:pt x="6539" y="0"/>
                  </a:lnTo>
                  <a:lnTo>
                    <a:pt x="5885" y="0"/>
                  </a:lnTo>
                  <a:lnTo>
                    <a:pt x="5232" y="0"/>
                  </a:lnTo>
                  <a:lnTo>
                    <a:pt x="4578" y="0"/>
                  </a:lnTo>
                  <a:lnTo>
                    <a:pt x="3923" y="0"/>
                  </a:lnTo>
                  <a:lnTo>
                    <a:pt x="3269" y="0"/>
                  </a:lnTo>
                  <a:lnTo>
                    <a:pt x="2616" y="0"/>
                  </a:lnTo>
                  <a:lnTo>
                    <a:pt x="1962" y="0"/>
                  </a:lnTo>
                  <a:lnTo>
                    <a:pt x="1307" y="0"/>
                  </a:lnTo>
                  <a:lnTo>
                    <a:pt x="653" y="0"/>
                  </a:lnTo>
                  <a:lnTo>
                    <a:pt x="0" y="0"/>
                  </a:lnTo>
                  <a:lnTo>
                    <a:pt x="0" y="872"/>
                  </a:lnTo>
                  <a:lnTo>
                    <a:pt x="0" y="1744"/>
                  </a:lnTo>
                  <a:lnTo>
                    <a:pt x="0" y="2616"/>
                  </a:lnTo>
                  <a:lnTo>
                    <a:pt x="0" y="3488"/>
                  </a:lnTo>
                  <a:close/>
                </a:path>
              </a:pathLst>
            </a:custGeom>
            <a:solidFill>
              <a:srgbClr val="5AC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 name="Freeform 7"/>
            <p:cNvSpPr>
              <a:spLocks noEditPoints="1"/>
            </p:cNvSpPr>
            <p:nvPr userDrawn="1"/>
          </p:nvSpPr>
          <p:spPr bwMode="auto">
            <a:xfrm>
              <a:off x="10419386" y="6306922"/>
              <a:ext cx="1218166" cy="286381"/>
            </a:xfrm>
            <a:custGeom>
              <a:avLst/>
              <a:gdLst>
                <a:gd name="T0" fmla="*/ 3454 w 8720"/>
                <a:gd name="T1" fmla="*/ 1049 h 2050"/>
                <a:gd name="T2" fmla="*/ 3166 w 8720"/>
                <a:gd name="T3" fmla="*/ 1051 h 2050"/>
                <a:gd name="T4" fmla="*/ 3068 w 8720"/>
                <a:gd name="T5" fmla="*/ 1409 h 2050"/>
                <a:gd name="T6" fmla="*/ 3261 w 8720"/>
                <a:gd name="T7" fmla="*/ 1675 h 2050"/>
                <a:gd name="T8" fmla="*/ 3519 w 8720"/>
                <a:gd name="T9" fmla="*/ 1539 h 2050"/>
                <a:gd name="T10" fmla="*/ 3863 w 8720"/>
                <a:gd name="T11" fmla="*/ 1565 h 2050"/>
                <a:gd name="T12" fmla="*/ 3603 w 8720"/>
                <a:gd name="T13" fmla="*/ 1898 h 2050"/>
                <a:gd name="T14" fmla="*/ 3188 w 8720"/>
                <a:gd name="T15" fmla="*/ 1959 h 2050"/>
                <a:gd name="T16" fmla="*/ 2786 w 8720"/>
                <a:gd name="T17" fmla="*/ 1655 h 2050"/>
                <a:gd name="T18" fmla="*/ 2732 w 8720"/>
                <a:gd name="T19" fmla="*/ 1207 h 2050"/>
                <a:gd name="T20" fmla="*/ 3018 w 8720"/>
                <a:gd name="T21" fmla="*/ 786 h 2050"/>
                <a:gd name="T22" fmla="*/ 3503 w 8720"/>
                <a:gd name="T23" fmla="*/ 740 h 2050"/>
                <a:gd name="T24" fmla="*/ 3857 w 8720"/>
                <a:gd name="T25" fmla="*/ 1088 h 2050"/>
                <a:gd name="T26" fmla="*/ 4586 w 8720"/>
                <a:gd name="T27" fmla="*/ 1045 h 2050"/>
                <a:gd name="T28" fmla="*/ 4361 w 8720"/>
                <a:gd name="T29" fmla="*/ 1327 h 2050"/>
                <a:gd name="T30" fmla="*/ 4391 w 8720"/>
                <a:gd name="T31" fmla="*/ 895 h 2050"/>
                <a:gd name="T32" fmla="*/ 4703 w 8720"/>
                <a:gd name="T33" fmla="*/ 728 h 2050"/>
                <a:gd name="T34" fmla="*/ 5384 w 8720"/>
                <a:gd name="T35" fmla="*/ 1679 h 2050"/>
                <a:gd name="T36" fmla="*/ 5258 w 8720"/>
                <a:gd name="T37" fmla="*/ 1026 h 2050"/>
                <a:gd name="T38" fmla="*/ 4962 w 8720"/>
                <a:gd name="T39" fmla="*/ 1758 h 2050"/>
                <a:gd name="T40" fmla="*/ 5374 w 8720"/>
                <a:gd name="T41" fmla="*/ 1960 h 2050"/>
                <a:gd name="T42" fmla="*/ 6441 w 8720"/>
                <a:gd name="T43" fmla="*/ 1538 h 2050"/>
                <a:gd name="T44" fmla="*/ 6231 w 8720"/>
                <a:gd name="T45" fmla="*/ 1676 h 2050"/>
                <a:gd name="T46" fmla="*/ 6056 w 8720"/>
                <a:gd name="T47" fmla="*/ 1487 h 2050"/>
                <a:gd name="T48" fmla="*/ 5746 w 8720"/>
                <a:gd name="T49" fmla="*/ 1671 h 2050"/>
                <a:gd name="T50" fmla="*/ 5949 w 8720"/>
                <a:gd name="T51" fmla="*/ 1899 h 2050"/>
                <a:gd name="T52" fmla="*/ 6505 w 8720"/>
                <a:gd name="T53" fmla="*/ 1921 h 2050"/>
                <a:gd name="T54" fmla="*/ 6769 w 8720"/>
                <a:gd name="T55" fmla="*/ 1628 h 2050"/>
                <a:gd name="T56" fmla="*/ 8698 w 8720"/>
                <a:gd name="T57" fmla="*/ 985 h 2050"/>
                <a:gd name="T58" fmla="*/ 8484 w 8720"/>
                <a:gd name="T59" fmla="*/ 747 h 2050"/>
                <a:gd name="T60" fmla="*/ 8083 w 8720"/>
                <a:gd name="T61" fmla="*/ 806 h 2050"/>
                <a:gd name="T62" fmla="*/ 7885 w 8720"/>
                <a:gd name="T63" fmla="*/ 840 h 2050"/>
                <a:gd name="T64" fmla="*/ 7630 w 8720"/>
                <a:gd name="T65" fmla="*/ 721 h 2050"/>
                <a:gd name="T66" fmla="*/ 7324 w 8720"/>
                <a:gd name="T67" fmla="*/ 871 h 2050"/>
                <a:gd name="T68" fmla="*/ 7270 w 8720"/>
                <a:gd name="T69" fmla="*/ 1283 h 2050"/>
                <a:gd name="T70" fmla="*/ 7447 w 8720"/>
                <a:gd name="T71" fmla="*/ 1034 h 2050"/>
                <a:gd name="T72" fmla="*/ 7645 w 8720"/>
                <a:gd name="T73" fmla="*/ 1211 h 2050"/>
                <a:gd name="T74" fmla="*/ 8034 w 8720"/>
                <a:gd name="T75" fmla="*/ 1138 h 2050"/>
                <a:gd name="T76" fmla="*/ 8289 w 8720"/>
                <a:gd name="T77" fmla="*/ 1046 h 2050"/>
                <a:gd name="T78" fmla="*/ 8377 w 8720"/>
                <a:gd name="T79" fmla="*/ 1938 h 2050"/>
                <a:gd name="T80" fmla="*/ 2458 w 8720"/>
                <a:gd name="T81" fmla="*/ 483 h 2050"/>
                <a:gd name="T82" fmla="*/ 2107 w 8720"/>
                <a:gd name="T83" fmla="*/ 1483 h 2050"/>
                <a:gd name="T84" fmla="*/ 2152 w 8720"/>
                <a:gd name="T85" fmla="*/ 299 h 2050"/>
                <a:gd name="T86" fmla="*/ 2419 w 8720"/>
                <a:gd name="T87" fmla="*/ 83 h 2050"/>
                <a:gd name="T88" fmla="*/ 2622 w 8720"/>
                <a:gd name="T89" fmla="*/ 369 h 2050"/>
                <a:gd name="T90" fmla="*/ 1130 w 8720"/>
                <a:gd name="T91" fmla="*/ 2050 h 2050"/>
                <a:gd name="T92" fmla="*/ 570 w 8720"/>
                <a:gd name="T93" fmla="*/ 1915 h 2050"/>
                <a:gd name="T94" fmla="*/ 120 w 8720"/>
                <a:gd name="T95" fmla="*/ 1452 h 2050"/>
                <a:gd name="T96" fmla="*/ 8 w 8720"/>
                <a:gd name="T97" fmla="*/ 822 h 2050"/>
                <a:gd name="T98" fmla="*/ 222 w 8720"/>
                <a:gd name="T99" fmla="*/ 289 h 2050"/>
                <a:gd name="T100" fmla="*/ 690 w 8720"/>
                <a:gd name="T101" fmla="*/ 389 h 2050"/>
                <a:gd name="T102" fmla="*/ 424 w 8720"/>
                <a:gd name="T103" fmla="*/ 782 h 2050"/>
                <a:gd name="T104" fmla="*/ 460 w 8720"/>
                <a:gd name="T105" fmla="*/ 1242 h 2050"/>
                <a:gd name="T106" fmla="*/ 783 w 8720"/>
                <a:gd name="T107" fmla="*/ 1573 h 2050"/>
                <a:gd name="T108" fmla="*/ 1246 w 8720"/>
                <a:gd name="T109" fmla="*/ 1632 h 2050"/>
                <a:gd name="T110" fmla="*/ 745 w 8720"/>
                <a:gd name="T111" fmla="*/ 1453 h 2050"/>
                <a:gd name="T112" fmla="*/ 1347 w 8720"/>
                <a:gd name="T113" fmla="*/ 1509 h 2050"/>
                <a:gd name="T114" fmla="*/ 1693 w 8720"/>
                <a:gd name="T115" fmla="*/ 1099 h 2050"/>
                <a:gd name="T116" fmla="*/ 1523 w 8720"/>
                <a:gd name="T117" fmla="*/ 505 h 2050"/>
                <a:gd name="T118" fmla="*/ 1152 w 8720"/>
                <a:gd name="T119" fmla="*/ 342 h 2050"/>
                <a:gd name="T120" fmla="*/ 691 w 8720"/>
                <a:gd name="T121" fmla="*/ 497 h 2050"/>
                <a:gd name="T122" fmla="*/ 491 w 8720"/>
                <a:gd name="T123" fmla="*/ 1037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720" h="2050">
                  <a:moveTo>
                    <a:pt x="3554" y="1338"/>
                  </a:moveTo>
                  <a:lnTo>
                    <a:pt x="3553" y="1299"/>
                  </a:lnTo>
                  <a:lnTo>
                    <a:pt x="3550" y="1263"/>
                  </a:lnTo>
                  <a:lnTo>
                    <a:pt x="3546" y="1228"/>
                  </a:lnTo>
                  <a:lnTo>
                    <a:pt x="3538" y="1196"/>
                  </a:lnTo>
                  <a:lnTo>
                    <a:pt x="3529" y="1165"/>
                  </a:lnTo>
                  <a:lnTo>
                    <a:pt x="3518" y="1137"/>
                  </a:lnTo>
                  <a:lnTo>
                    <a:pt x="3511" y="1124"/>
                  </a:lnTo>
                  <a:lnTo>
                    <a:pt x="3504" y="1112"/>
                  </a:lnTo>
                  <a:lnTo>
                    <a:pt x="3490" y="1088"/>
                  </a:lnTo>
                  <a:lnTo>
                    <a:pt x="3473" y="1068"/>
                  </a:lnTo>
                  <a:lnTo>
                    <a:pt x="3454" y="1049"/>
                  </a:lnTo>
                  <a:lnTo>
                    <a:pt x="3436" y="1034"/>
                  </a:lnTo>
                  <a:lnTo>
                    <a:pt x="3413" y="1022"/>
                  </a:lnTo>
                  <a:lnTo>
                    <a:pt x="3390" y="1012"/>
                  </a:lnTo>
                  <a:lnTo>
                    <a:pt x="3366" y="1004"/>
                  </a:lnTo>
                  <a:lnTo>
                    <a:pt x="3339" y="1000"/>
                  </a:lnTo>
                  <a:lnTo>
                    <a:pt x="3311" y="998"/>
                  </a:lnTo>
                  <a:lnTo>
                    <a:pt x="3283" y="1000"/>
                  </a:lnTo>
                  <a:lnTo>
                    <a:pt x="3257" y="1004"/>
                  </a:lnTo>
                  <a:lnTo>
                    <a:pt x="3232" y="1012"/>
                  </a:lnTo>
                  <a:lnTo>
                    <a:pt x="3209" y="1022"/>
                  </a:lnTo>
                  <a:lnTo>
                    <a:pt x="3187" y="1035"/>
                  </a:lnTo>
                  <a:lnTo>
                    <a:pt x="3166" y="1051"/>
                  </a:lnTo>
                  <a:lnTo>
                    <a:pt x="3148" y="1069"/>
                  </a:lnTo>
                  <a:lnTo>
                    <a:pt x="3130" y="1091"/>
                  </a:lnTo>
                  <a:lnTo>
                    <a:pt x="3116" y="1114"/>
                  </a:lnTo>
                  <a:lnTo>
                    <a:pt x="3102" y="1139"/>
                  </a:lnTo>
                  <a:lnTo>
                    <a:pt x="3090" y="1167"/>
                  </a:lnTo>
                  <a:lnTo>
                    <a:pt x="3081" y="1197"/>
                  </a:lnTo>
                  <a:lnTo>
                    <a:pt x="3073" y="1228"/>
                  </a:lnTo>
                  <a:lnTo>
                    <a:pt x="3068" y="1263"/>
                  </a:lnTo>
                  <a:lnTo>
                    <a:pt x="3065" y="1298"/>
                  </a:lnTo>
                  <a:lnTo>
                    <a:pt x="3063" y="1336"/>
                  </a:lnTo>
                  <a:lnTo>
                    <a:pt x="3065" y="1374"/>
                  </a:lnTo>
                  <a:lnTo>
                    <a:pt x="3068" y="1409"/>
                  </a:lnTo>
                  <a:lnTo>
                    <a:pt x="3073" y="1444"/>
                  </a:lnTo>
                  <a:lnTo>
                    <a:pt x="3081" y="1477"/>
                  </a:lnTo>
                  <a:lnTo>
                    <a:pt x="3091" y="1507"/>
                  </a:lnTo>
                  <a:lnTo>
                    <a:pt x="3102" y="1536"/>
                  </a:lnTo>
                  <a:lnTo>
                    <a:pt x="3117" y="1562"/>
                  </a:lnTo>
                  <a:lnTo>
                    <a:pt x="3132" y="1586"/>
                  </a:lnTo>
                  <a:lnTo>
                    <a:pt x="3149" y="1607"/>
                  </a:lnTo>
                  <a:lnTo>
                    <a:pt x="3169" y="1626"/>
                  </a:lnTo>
                  <a:lnTo>
                    <a:pt x="3189" y="1643"/>
                  </a:lnTo>
                  <a:lnTo>
                    <a:pt x="3211" y="1656"/>
                  </a:lnTo>
                  <a:lnTo>
                    <a:pt x="3236" y="1667"/>
                  </a:lnTo>
                  <a:lnTo>
                    <a:pt x="3261" y="1675"/>
                  </a:lnTo>
                  <a:lnTo>
                    <a:pt x="3288" y="1679"/>
                  </a:lnTo>
                  <a:lnTo>
                    <a:pt x="3317" y="1680"/>
                  </a:lnTo>
                  <a:lnTo>
                    <a:pt x="3343" y="1679"/>
                  </a:lnTo>
                  <a:lnTo>
                    <a:pt x="3369" y="1675"/>
                  </a:lnTo>
                  <a:lnTo>
                    <a:pt x="3393" y="1667"/>
                  </a:lnTo>
                  <a:lnTo>
                    <a:pt x="3417" y="1657"/>
                  </a:lnTo>
                  <a:lnTo>
                    <a:pt x="3438" y="1644"/>
                  </a:lnTo>
                  <a:lnTo>
                    <a:pt x="3458" y="1628"/>
                  </a:lnTo>
                  <a:lnTo>
                    <a:pt x="3476" y="1609"/>
                  </a:lnTo>
                  <a:lnTo>
                    <a:pt x="3491" y="1588"/>
                  </a:lnTo>
                  <a:lnTo>
                    <a:pt x="3506" y="1565"/>
                  </a:lnTo>
                  <a:lnTo>
                    <a:pt x="3519" y="1539"/>
                  </a:lnTo>
                  <a:lnTo>
                    <a:pt x="3529" y="1512"/>
                  </a:lnTo>
                  <a:lnTo>
                    <a:pt x="3538" y="1480"/>
                  </a:lnTo>
                  <a:lnTo>
                    <a:pt x="3546" y="1448"/>
                  </a:lnTo>
                  <a:lnTo>
                    <a:pt x="3550" y="1414"/>
                  </a:lnTo>
                  <a:lnTo>
                    <a:pt x="3553" y="1377"/>
                  </a:lnTo>
                  <a:lnTo>
                    <a:pt x="3554" y="1338"/>
                  </a:lnTo>
                  <a:close/>
                  <a:moveTo>
                    <a:pt x="3897" y="1340"/>
                  </a:moveTo>
                  <a:lnTo>
                    <a:pt x="3893" y="1408"/>
                  </a:lnTo>
                  <a:lnTo>
                    <a:pt x="3885" y="1474"/>
                  </a:lnTo>
                  <a:lnTo>
                    <a:pt x="3880" y="1505"/>
                  </a:lnTo>
                  <a:lnTo>
                    <a:pt x="3872" y="1536"/>
                  </a:lnTo>
                  <a:lnTo>
                    <a:pt x="3863" y="1565"/>
                  </a:lnTo>
                  <a:lnTo>
                    <a:pt x="3853" y="1595"/>
                  </a:lnTo>
                  <a:lnTo>
                    <a:pt x="3843" y="1623"/>
                  </a:lnTo>
                  <a:lnTo>
                    <a:pt x="3831" y="1649"/>
                  </a:lnTo>
                  <a:lnTo>
                    <a:pt x="3803" y="1701"/>
                  </a:lnTo>
                  <a:lnTo>
                    <a:pt x="3771" y="1749"/>
                  </a:lnTo>
                  <a:lnTo>
                    <a:pt x="3753" y="1773"/>
                  </a:lnTo>
                  <a:lnTo>
                    <a:pt x="3734" y="1794"/>
                  </a:lnTo>
                  <a:lnTo>
                    <a:pt x="3716" y="1814"/>
                  </a:lnTo>
                  <a:lnTo>
                    <a:pt x="3694" y="1834"/>
                  </a:lnTo>
                  <a:lnTo>
                    <a:pt x="3650" y="1868"/>
                  </a:lnTo>
                  <a:lnTo>
                    <a:pt x="3627" y="1884"/>
                  </a:lnTo>
                  <a:lnTo>
                    <a:pt x="3603" y="1898"/>
                  </a:lnTo>
                  <a:lnTo>
                    <a:pt x="3552" y="1924"/>
                  </a:lnTo>
                  <a:lnTo>
                    <a:pt x="3526" y="1935"/>
                  </a:lnTo>
                  <a:lnTo>
                    <a:pt x="3498" y="1944"/>
                  </a:lnTo>
                  <a:lnTo>
                    <a:pt x="3470" y="1951"/>
                  </a:lnTo>
                  <a:lnTo>
                    <a:pt x="3441" y="1958"/>
                  </a:lnTo>
                  <a:lnTo>
                    <a:pt x="3411" y="1964"/>
                  </a:lnTo>
                  <a:lnTo>
                    <a:pt x="3381" y="1967"/>
                  </a:lnTo>
                  <a:lnTo>
                    <a:pt x="3319" y="1970"/>
                  </a:lnTo>
                  <a:lnTo>
                    <a:pt x="3285" y="1969"/>
                  </a:lnTo>
                  <a:lnTo>
                    <a:pt x="3252" y="1967"/>
                  </a:lnTo>
                  <a:lnTo>
                    <a:pt x="3220" y="1964"/>
                  </a:lnTo>
                  <a:lnTo>
                    <a:pt x="3188" y="1959"/>
                  </a:lnTo>
                  <a:lnTo>
                    <a:pt x="3158" y="1953"/>
                  </a:lnTo>
                  <a:lnTo>
                    <a:pt x="3128" y="1945"/>
                  </a:lnTo>
                  <a:lnTo>
                    <a:pt x="3071" y="1926"/>
                  </a:lnTo>
                  <a:lnTo>
                    <a:pt x="3018" y="1901"/>
                  </a:lnTo>
                  <a:lnTo>
                    <a:pt x="2993" y="1887"/>
                  </a:lnTo>
                  <a:lnTo>
                    <a:pt x="2969" y="1871"/>
                  </a:lnTo>
                  <a:lnTo>
                    <a:pt x="2924" y="1837"/>
                  </a:lnTo>
                  <a:lnTo>
                    <a:pt x="2882" y="1798"/>
                  </a:lnTo>
                  <a:lnTo>
                    <a:pt x="2864" y="1777"/>
                  </a:lnTo>
                  <a:lnTo>
                    <a:pt x="2846" y="1755"/>
                  </a:lnTo>
                  <a:lnTo>
                    <a:pt x="2814" y="1707"/>
                  </a:lnTo>
                  <a:lnTo>
                    <a:pt x="2786" y="1655"/>
                  </a:lnTo>
                  <a:lnTo>
                    <a:pt x="2775" y="1627"/>
                  </a:lnTo>
                  <a:lnTo>
                    <a:pt x="2764" y="1598"/>
                  </a:lnTo>
                  <a:lnTo>
                    <a:pt x="2754" y="1569"/>
                  </a:lnTo>
                  <a:lnTo>
                    <a:pt x="2746" y="1538"/>
                  </a:lnTo>
                  <a:lnTo>
                    <a:pt x="2738" y="1507"/>
                  </a:lnTo>
                  <a:lnTo>
                    <a:pt x="2732" y="1474"/>
                  </a:lnTo>
                  <a:lnTo>
                    <a:pt x="2728" y="1440"/>
                  </a:lnTo>
                  <a:lnTo>
                    <a:pt x="2725" y="1407"/>
                  </a:lnTo>
                  <a:lnTo>
                    <a:pt x="2722" y="1372"/>
                  </a:lnTo>
                  <a:lnTo>
                    <a:pt x="2721" y="1336"/>
                  </a:lnTo>
                  <a:lnTo>
                    <a:pt x="2725" y="1271"/>
                  </a:lnTo>
                  <a:lnTo>
                    <a:pt x="2732" y="1207"/>
                  </a:lnTo>
                  <a:lnTo>
                    <a:pt x="2738" y="1177"/>
                  </a:lnTo>
                  <a:lnTo>
                    <a:pt x="2746" y="1147"/>
                  </a:lnTo>
                  <a:lnTo>
                    <a:pt x="2764" y="1089"/>
                  </a:lnTo>
                  <a:lnTo>
                    <a:pt x="2775" y="1062"/>
                  </a:lnTo>
                  <a:lnTo>
                    <a:pt x="2787" y="1035"/>
                  </a:lnTo>
                  <a:lnTo>
                    <a:pt x="2815" y="983"/>
                  </a:lnTo>
                  <a:lnTo>
                    <a:pt x="2847" y="936"/>
                  </a:lnTo>
                  <a:lnTo>
                    <a:pt x="2865" y="913"/>
                  </a:lnTo>
                  <a:lnTo>
                    <a:pt x="2884" y="892"/>
                  </a:lnTo>
                  <a:lnTo>
                    <a:pt x="2925" y="852"/>
                  </a:lnTo>
                  <a:lnTo>
                    <a:pt x="2969" y="817"/>
                  </a:lnTo>
                  <a:lnTo>
                    <a:pt x="3018" y="786"/>
                  </a:lnTo>
                  <a:lnTo>
                    <a:pt x="3070" y="761"/>
                  </a:lnTo>
                  <a:lnTo>
                    <a:pt x="3098" y="750"/>
                  </a:lnTo>
                  <a:lnTo>
                    <a:pt x="3126" y="741"/>
                  </a:lnTo>
                  <a:lnTo>
                    <a:pt x="3155" y="732"/>
                  </a:lnTo>
                  <a:lnTo>
                    <a:pt x="3185" y="725"/>
                  </a:lnTo>
                  <a:lnTo>
                    <a:pt x="3216" y="721"/>
                  </a:lnTo>
                  <a:lnTo>
                    <a:pt x="3247" y="716"/>
                  </a:lnTo>
                  <a:lnTo>
                    <a:pt x="3311" y="713"/>
                  </a:lnTo>
                  <a:lnTo>
                    <a:pt x="3379" y="716"/>
                  </a:lnTo>
                  <a:lnTo>
                    <a:pt x="3411" y="720"/>
                  </a:lnTo>
                  <a:lnTo>
                    <a:pt x="3443" y="725"/>
                  </a:lnTo>
                  <a:lnTo>
                    <a:pt x="3503" y="740"/>
                  </a:lnTo>
                  <a:lnTo>
                    <a:pt x="3559" y="760"/>
                  </a:lnTo>
                  <a:lnTo>
                    <a:pt x="3586" y="772"/>
                  </a:lnTo>
                  <a:lnTo>
                    <a:pt x="3611" y="785"/>
                  </a:lnTo>
                  <a:lnTo>
                    <a:pt x="3636" y="800"/>
                  </a:lnTo>
                  <a:lnTo>
                    <a:pt x="3660" y="815"/>
                  </a:lnTo>
                  <a:lnTo>
                    <a:pt x="3703" y="851"/>
                  </a:lnTo>
                  <a:lnTo>
                    <a:pt x="3723" y="870"/>
                  </a:lnTo>
                  <a:lnTo>
                    <a:pt x="3743" y="890"/>
                  </a:lnTo>
                  <a:lnTo>
                    <a:pt x="3778" y="934"/>
                  </a:lnTo>
                  <a:lnTo>
                    <a:pt x="3809" y="982"/>
                  </a:lnTo>
                  <a:lnTo>
                    <a:pt x="3835" y="1033"/>
                  </a:lnTo>
                  <a:lnTo>
                    <a:pt x="3857" y="1088"/>
                  </a:lnTo>
                  <a:lnTo>
                    <a:pt x="3867" y="1117"/>
                  </a:lnTo>
                  <a:lnTo>
                    <a:pt x="3874" y="1147"/>
                  </a:lnTo>
                  <a:lnTo>
                    <a:pt x="3887" y="1208"/>
                  </a:lnTo>
                  <a:lnTo>
                    <a:pt x="3894" y="1273"/>
                  </a:lnTo>
                  <a:lnTo>
                    <a:pt x="3897" y="1340"/>
                  </a:lnTo>
                  <a:close/>
                  <a:moveTo>
                    <a:pt x="4810" y="1073"/>
                  </a:moveTo>
                  <a:lnTo>
                    <a:pt x="4769" y="1056"/>
                  </a:lnTo>
                  <a:lnTo>
                    <a:pt x="4732" y="1045"/>
                  </a:lnTo>
                  <a:lnTo>
                    <a:pt x="4694" y="1039"/>
                  </a:lnTo>
                  <a:lnTo>
                    <a:pt x="4653" y="1038"/>
                  </a:lnTo>
                  <a:lnTo>
                    <a:pt x="4619" y="1039"/>
                  </a:lnTo>
                  <a:lnTo>
                    <a:pt x="4586" y="1045"/>
                  </a:lnTo>
                  <a:lnTo>
                    <a:pt x="4555" y="1053"/>
                  </a:lnTo>
                  <a:lnTo>
                    <a:pt x="4526" y="1064"/>
                  </a:lnTo>
                  <a:lnTo>
                    <a:pt x="4501" y="1078"/>
                  </a:lnTo>
                  <a:lnTo>
                    <a:pt x="4476" y="1095"/>
                  </a:lnTo>
                  <a:lnTo>
                    <a:pt x="4453" y="1115"/>
                  </a:lnTo>
                  <a:lnTo>
                    <a:pt x="4433" y="1137"/>
                  </a:lnTo>
                  <a:lnTo>
                    <a:pt x="4415" y="1163"/>
                  </a:lnTo>
                  <a:lnTo>
                    <a:pt x="4400" y="1191"/>
                  </a:lnTo>
                  <a:lnTo>
                    <a:pt x="4386" y="1222"/>
                  </a:lnTo>
                  <a:lnTo>
                    <a:pt x="4375" y="1254"/>
                  </a:lnTo>
                  <a:lnTo>
                    <a:pt x="4366" y="1289"/>
                  </a:lnTo>
                  <a:lnTo>
                    <a:pt x="4361" y="1327"/>
                  </a:lnTo>
                  <a:lnTo>
                    <a:pt x="4356" y="1367"/>
                  </a:lnTo>
                  <a:lnTo>
                    <a:pt x="4355" y="1408"/>
                  </a:lnTo>
                  <a:lnTo>
                    <a:pt x="4355" y="1938"/>
                  </a:lnTo>
                  <a:lnTo>
                    <a:pt x="4017" y="1938"/>
                  </a:lnTo>
                  <a:lnTo>
                    <a:pt x="4017" y="1342"/>
                  </a:lnTo>
                  <a:lnTo>
                    <a:pt x="4017" y="746"/>
                  </a:lnTo>
                  <a:lnTo>
                    <a:pt x="4343" y="746"/>
                  </a:lnTo>
                  <a:lnTo>
                    <a:pt x="4343" y="1017"/>
                  </a:lnTo>
                  <a:lnTo>
                    <a:pt x="4352" y="984"/>
                  </a:lnTo>
                  <a:lnTo>
                    <a:pt x="4363" y="953"/>
                  </a:lnTo>
                  <a:lnTo>
                    <a:pt x="4375" y="923"/>
                  </a:lnTo>
                  <a:lnTo>
                    <a:pt x="4391" y="895"/>
                  </a:lnTo>
                  <a:lnTo>
                    <a:pt x="4408" y="870"/>
                  </a:lnTo>
                  <a:lnTo>
                    <a:pt x="4425" y="846"/>
                  </a:lnTo>
                  <a:lnTo>
                    <a:pt x="4446" y="824"/>
                  </a:lnTo>
                  <a:lnTo>
                    <a:pt x="4468" y="805"/>
                  </a:lnTo>
                  <a:lnTo>
                    <a:pt x="4492" y="787"/>
                  </a:lnTo>
                  <a:lnTo>
                    <a:pt x="4517" y="772"/>
                  </a:lnTo>
                  <a:lnTo>
                    <a:pt x="4544" y="758"/>
                  </a:lnTo>
                  <a:lnTo>
                    <a:pt x="4573" y="748"/>
                  </a:lnTo>
                  <a:lnTo>
                    <a:pt x="4603" y="740"/>
                  </a:lnTo>
                  <a:lnTo>
                    <a:pt x="4635" y="734"/>
                  </a:lnTo>
                  <a:lnTo>
                    <a:pt x="4669" y="730"/>
                  </a:lnTo>
                  <a:lnTo>
                    <a:pt x="4703" y="728"/>
                  </a:lnTo>
                  <a:lnTo>
                    <a:pt x="4753" y="732"/>
                  </a:lnTo>
                  <a:lnTo>
                    <a:pt x="4810" y="741"/>
                  </a:lnTo>
                  <a:lnTo>
                    <a:pt x="4810" y="1073"/>
                  </a:lnTo>
                  <a:close/>
                  <a:moveTo>
                    <a:pt x="5598" y="1938"/>
                  </a:moveTo>
                  <a:lnTo>
                    <a:pt x="5598" y="1670"/>
                  </a:lnTo>
                  <a:lnTo>
                    <a:pt x="5561" y="1678"/>
                  </a:lnTo>
                  <a:lnTo>
                    <a:pt x="5526" y="1683"/>
                  </a:lnTo>
                  <a:lnTo>
                    <a:pt x="5494" y="1685"/>
                  </a:lnTo>
                  <a:lnTo>
                    <a:pt x="5458" y="1686"/>
                  </a:lnTo>
                  <a:lnTo>
                    <a:pt x="5432" y="1685"/>
                  </a:lnTo>
                  <a:lnTo>
                    <a:pt x="5406" y="1683"/>
                  </a:lnTo>
                  <a:lnTo>
                    <a:pt x="5384" y="1679"/>
                  </a:lnTo>
                  <a:lnTo>
                    <a:pt x="5364" y="1674"/>
                  </a:lnTo>
                  <a:lnTo>
                    <a:pt x="5345" y="1667"/>
                  </a:lnTo>
                  <a:lnTo>
                    <a:pt x="5328" y="1658"/>
                  </a:lnTo>
                  <a:lnTo>
                    <a:pt x="5314" y="1648"/>
                  </a:lnTo>
                  <a:lnTo>
                    <a:pt x="5302" y="1636"/>
                  </a:lnTo>
                  <a:lnTo>
                    <a:pt x="5292" y="1622"/>
                  </a:lnTo>
                  <a:lnTo>
                    <a:pt x="5282" y="1605"/>
                  </a:lnTo>
                  <a:lnTo>
                    <a:pt x="5275" y="1587"/>
                  </a:lnTo>
                  <a:lnTo>
                    <a:pt x="5268" y="1566"/>
                  </a:lnTo>
                  <a:lnTo>
                    <a:pt x="5262" y="1517"/>
                  </a:lnTo>
                  <a:lnTo>
                    <a:pt x="5258" y="1459"/>
                  </a:lnTo>
                  <a:lnTo>
                    <a:pt x="5258" y="1026"/>
                  </a:lnTo>
                  <a:lnTo>
                    <a:pt x="5583" y="1026"/>
                  </a:lnTo>
                  <a:lnTo>
                    <a:pt x="5583" y="755"/>
                  </a:lnTo>
                  <a:lnTo>
                    <a:pt x="5258" y="755"/>
                  </a:lnTo>
                  <a:lnTo>
                    <a:pt x="5258" y="365"/>
                  </a:lnTo>
                  <a:lnTo>
                    <a:pt x="4920" y="556"/>
                  </a:lnTo>
                  <a:lnTo>
                    <a:pt x="4920" y="1037"/>
                  </a:lnTo>
                  <a:lnTo>
                    <a:pt x="4920" y="1519"/>
                  </a:lnTo>
                  <a:lnTo>
                    <a:pt x="4921" y="1575"/>
                  </a:lnTo>
                  <a:lnTo>
                    <a:pt x="4926" y="1627"/>
                  </a:lnTo>
                  <a:lnTo>
                    <a:pt x="4935" y="1674"/>
                  </a:lnTo>
                  <a:lnTo>
                    <a:pt x="4946" y="1718"/>
                  </a:lnTo>
                  <a:lnTo>
                    <a:pt x="4962" y="1758"/>
                  </a:lnTo>
                  <a:lnTo>
                    <a:pt x="4981" y="1794"/>
                  </a:lnTo>
                  <a:lnTo>
                    <a:pt x="5003" y="1826"/>
                  </a:lnTo>
                  <a:lnTo>
                    <a:pt x="5030" y="1855"/>
                  </a:lnTo>
                  <a:lnTo>
                    <a:pt x="5044" y="1868"/>
                  </a:lnTo>
                  <a:lnTo>
                    <a:pt x="5060" y="1880"/>
                  </a:lnTo>
                  <a:lnTo>
                    <a:pt x="5093" y="1901"/>
                  </a:lnTo>
                  <a:lnTo>
                    <a:pt x="5130" y="1920"/>
                  </a:lnTo>
                  <a:lnTo>
                    <a:pt x="5171" y="1935"/>
                  </a:lnTo>
                  <a:lnTo>
                    <a:pt x="5216" y="1946"/>
                  </a:lnTo>
                  <a:lnTo>
                    <a:pt x="5265" y="1954"/>
                  </a:lnTo>
                  <a:lnTo>
                    <a:pt x="5317" y="1959"/>
                  </a:lnTo>
                  <a:lnTo>
                    <a:pt x="5374" y="1960"/>
                  </a:lnTo>
                  <a:lnTo>
                    <a:pt x="5431" y="1959"/>
                  </a:lnTo>
                  <a:lnTo>
                    <a:pt x="5484" y="1956"/>
                  </a:lnTo>
                  <a:lnTo>
                    <a:pt x="5538" y="1949"/>
                  </a:lnTo>
                  <a:lnTo>
                    <a:pt x="5598" y="1938"/>
                  </a:lnTo>
                  <a:close/>
                  <a:moveTo>
                    <a:pt x="6796" y="1358"/>
                  </a:moveTo>
                  <a:lnTo>
                    <a:pt x="6796" y="746"/>
                  </a:lnTo>
                  <a:lnTo>
                    <a:pt x="6457" y="746"/>
                  </a:lnTo>
                  <a:lnTo>
                    <a:pt x="6457" y="1358"/>
                  </a:lnTo>
                  <a:lnTo>
                    <a:pt x="6455" y="1440"/>
                  </a:lnTo>
                  <a:lnTo>
                    <a:pt x="6451" y="1476"/>
                  </a:lnTo>
                  <a:lnTo>
                    <a:pt x="6447" y="1508"/>
                  </a:lnTo>
                  <a:lnTo>
                    <a:pt x="6441" y="1538"/>
                  </a:lnTo>
                  <a:lnTo>
                    <a:pt x="6435" y="1564"/>
                  </a:lnTo>
                  <a:lnTo>
                    <a:pt x="6426" y="1587"/>
                  </a:lnTo>
                  <a:lnTo>
                    <a:pt x="6415" y="1607"/>
                  </a:lnTo>
                  <a:lnTo>
                    <a:pt x="6402" y="1624"/>
                  </a:lnTo>
                  <a:lnTo>
                    <a:pt x="6388" y="1639"/>
                  </a:lnTo>
                  <a:lnTo>
                    <a:pt x="6373" y="1650"/>
                  </a:lnTo>
                  <a:lnTo>
                    <a:pt x="6355" y="1660"/>
                  </a:lnTo>
                  <a:lnTo>
                    <a:pt x="6334" y="1668"/>
                  </a:lnTo>
                  <a:lnTo>
                    <a:pt x="6311" y="1673"/>
                  </a:lnTo>
                  <a:lnTo>
                    <a:pt x="6287" y="1676"/>
                  </a:lnTo>
                  <a:lnTo>
                    <a:pt x="6259" y="1677"/>
                  </a:lnTo>
                  <a:lnTo>
                    <a:pt x="6231" y="1676"/>
                  </a:lnTo>
                  <a:lnTo>
                    <a:pt x="6206" y="1673"/>
                  </a:lnTo>
                  <a:lnTo>
                    <a:pt x="6181" y="1668"/>
                  </a:lnTo>
                  <a:lnTo>
                    <a:pt x="6160" y="1660"/>
                  </a:lnTo>
                  <a:lnTo>
                    <a:pt x="6141" y="1652"/>
                  </a:lnTo>
                  <a:lnTo>
                    <a:pt x="6124" y="1640"/>
                  </a:lnTo>
                  <a:lnTo>
                    <a:pt x="6109" y="1626"/>
                  </a:lnTo>
                  <a:lnTo>
                    <a:pt x="6096" y="1609"/>
                  </a:lnTo>
                  <a:lnTo>
                    <a:pt x="6085" y="1590"/>
                  </a:lnTo>
                  <a:lnTo>
                    <a:pt x="6075" y="1569"/>
                  </a:lnTo>
                  <a:lnTo>
                    <a:pt x="6067" y="1545"/>
                  </a:lnTo>
                  <a:lnTo>
                    <a:pt x="6060" y="1517"/>
                  </a:lnTo>
                  <a:lnTo>
                    <a:pt x="6056" y="1487"/>
                  </a:lnTo>
                  <a:lnTo>
                    <a:pt x="6053" y="1454"/>
                  </a:lnTo>
                  <a:lnTo>
                    <a:pt x="6050" y="1417"/>
                  </a:lnTo>
                  <a:lnTo>
                    <a:pt x="6049" y="1378"/>
                  </a:lnTo>
                  <a:lnTo>
                    <a:pt x="6049" y="746"/>
                  </a:lnTo>
                  <a:lnTo>
                    <a:pt x="5710" y="746"/>
                  </a:lnTo>
                  <a:lnTo>
                    <a:pt x="5710" y="1373"/>
                  </a:lnTo>
                  <a:lnTo>
                    <a:pt x="5713" y="1465"/>
                  </a:lnTo>
                  <a:lnTo>
                    <a:pt x="5715" y="1505"/>
                  </a:lnTo>
                  <a:lnTo>
                    <a:pt x="5718" y="1544"/>
                  </a:lnTo>
                  <a:lnTo>
                    <a:pt x="5729" y="1612"/>
                  </a:lnTo>
                  <a:lnTo>
                    <a:pt x="5737" y="1643"/>
                  </a:lnTo>
                  <a:lnTo>
                    <a:pt x="5746" y="1671"/>
                  </a:lnTo>
                  <a:lnTo>
                    <a:pt x="5756" y="1698"/>
                  </a:lnTo>
                  <a:lnTo>
                    <a:pt x="5768" y="1723"/>
                  </a:lnTo>
                  <a:lnTo>
                    <a:pt x="5780" y="1747"/>
                  </a:lnTo>
                  <a:lnTo>
                    <a:pt x="5796" y="1769"/>
                  </a:lnTo>
                  <a:lnTo>
                    <a:pt x="5812" y="1790"/>
                  </a:lnTo>
                  <a:lnTo>
                    <a:pt x="5830" y="1810"/>
                  </a:lnTo>
                  <a:lnTo>
                    <a:pt x="5849" y="1829"/>
                  </a:lnTo>
                  <a:lnTo>
                    <a:pt x="5872" y="1848"/>
                  </a:lnTo>
                  <a:lnTo>
                    <a:pt x="5889" y="1863"/>
                  </a:lnTo>
                  <a:lnTo>
                    <a:pt x="5908" y="1876"/>
                  </a:lnTo>
                  <a:lnTo>
                    <a:pt x="5928" y="1888"/>
                  </a:lnTo>
                  <a:lnTo>
                    <a:pt x="5949" y="1899"/>
                  </a:lnTo>
                  <a:lnTo>
                    <a:pt x="5972" y="1909"/>
                  </a:lnTo>
                  <a:lnTo>
                    <a:pt x="5994" y="1919"/>
                  </a:lnTo>
                  <a:lnTo>
                    <a:pt x="6040" y="1936"/>
                  </a:lnTo>
                  <a:lnTo>
                    <a:pt x="6091" y="1949"/>
                  </a:lnTo>
                  <a:lnTo>
                    <a:pt x="6144" y="1958"/>
                  </a:lnTo>
                  <a:lnTo>
                    <a:pt x="6199" y="1964"/>
                  </a:lnTo>
                  <a:lnTo>
                    <a:pt x="6257" y="1966"/>
                  </a:lnTo>
                  <a:lnTo>
                    <a:pt x="6325" y="1963"/>
                  </a:lnTo>
                  <a:lnTo>
                    <a:pt x="6388" y="1955"/>
                  </a:lnTo>
                  <a:lnTo>
                    <a:pt x="6419" y="1948"/>
                  </a:lnTo>
                  <a:lnTo>
                    <a:pt x="6448" y="1940"/>
                  </a:lnTo>
                  <a:lnTo>
                    <a:pt x="6505" y="1921"/>
                  </a:lnTo>
                  <a:lnTo>
                    <a:pt x="6531" y="1910"/>
                  </a:lnTo>
                  <a:lnTo>
                    <a:pt x="6557" y="1898"/>
                  </a:lnTo>
                  <a:lnTo>
                    <a:pt x="6605" y="1869"/>
                  </a:lnTo>
                  <a:lnTo>
                    <a:pt x="6626" y="1853"/>
                  </a:lnTo>
                  <a:lnTo>
                    <a:pt x="6647" y="1835"/>
                  </a:lnTo>
                  <a:lnTo>
                    <a:pt x="6667" y="1816"/>
                  </a:lnTo>
                  <a:lnTo>
                    <a:pt x="6685" y="1796"/>
                  </a:lnTo>
                  <a:lnTo>
                    <a:pt x="6699" y="1779"/>
                  </a:lnTo>
                  <a:lnTo>
                    <a:pt x="6712" y="1760"/>
                  </a:lnTo>
                  <a:lnTo>
                    <a:pt x="6735" y="1721"/>
                  </a:lnTo>
                  <a:lnTo>
                    <a:pt x="6755" y="1678"/>
                  </a:lnTo>
                  <a:lnTo>
                    <a:pt x="6769" y="1628"/>
                  </a:lnTo>
                  <a:lnTo>
                    <a:pt x="6781" y="1573"/>
                  </a:lnTo>
                  <a:lnTo>
                    <a:pt x="6786" y="1542"/>
                  </a:lnTo>
                  <a:lnTo>
                    <a:pt x="6790" y="1509"/>
                  </a:lnTo>
                  <a:lnTo>
                    <a:pt x="6795" y="1438"/>
                  </a:lnTo>
                  <a:lnTo>
                    <a:pt x="6796" y="1358"/>
                  </a:lnTo>
                  <a:close/>
                  <a:moveTo>
                    <a:pt x="8720" y="1938"/>
                  </a:moveTo>
                  <a:lnTo>
                    <a:pt x="8720" y="1254"/>
                  </a:lnTo>
                  <a:lnTo>
                    <a:pt x="8718" y="1185"/>
                  </a:lnTo>
                  <a:lnTo>
                    <a:pt x="8716" y="1124"/>
                  </a:lnTo>
                  <a:lnTo>
                    <a:pt x="8712" y="1072"/>
                  </a:lnTo>
                  <a:lnTo>
                    <a:pt x="8706" y="1025"/>
                  </a:lnTo>
                  <a:lnTo>
                    <a:pt x="8698" y="985"/>
                  </a:lnTo>
                  <a:lnTo>
                    <a:pt x="8688" y="950"/>
                  </a:lnTo>
                  <a:lnTo>
                    <a:pt x="8676" y="918"/>
                  </a:lnTo>
                  <a:lnTo>
                    <a:pt x="8662" y="891"/>
                  </a:lnTo>
                  <a:lnTo>
                    <a:pt x="8650" y="871"/>
                  </a:lnTo>
                  <a:lnTo>
                    <a:pt x="8636" y="853"/>
                  </a:lnTo>
                  <a:lnTo>
                    <a:pt x="8622" y="836"/>
                  </a:lnTo>
                  <a:lnTo>
                    <a:pt x="8605" y="820"/>
                  </a:lnTo>
                  <a:lnTo>
                    <a:pt x="8589" y="805"/>
                  </a:lnTo>
                  <a:lnTo>
                    <a:pt x="8570" y="791"/>
                  </a:lnTo>
                  <a:lnTo>
                    <a:pt x="8529" y="766"/>
                  </a:lnTo>
                  <a:lnTo>
                    <a:pt x="8506" y="756"/>
                  </a:lnTo>
                  <a:lnTo>
                    <a:pt x="8484" y="747"/>
                  </a:lnTo>
                  <a:lnTo>
                    <a:pt x="8436" y="733"/>
                  </a:lnTo>
                  <a:lnTo>
                    <a:pt x="8385" y="724"/>
                  </a:lnTo>
                  <a:lnTo>
                    <a:pt x="8332" y="721"/>
                  </a:lnTo>
                  <a:lnTo>
                    <a:pt x="8300" y="722"/>
                  </a:lnTo>
                  <a:lnTo>
                    <a:pt x="8269" y="725"/>
                  </a:lnTo>
                  <a:lnTo>
                    <a:pt x="8239" y="731"/>
                  </a:lnTo>
                  <a:lnTo>
                    <a:pt x="8210" y="737"/>
                  </a:lnTo>
                  <a:lnTo>
                    <a:pt x="8182" y="747"/>
                  </a:lnTo>
                  <a:lnTo>
                    <a:pt x="8155" y="758"/>
                  </a:lnTo>
                  <a:lnTo>
                    <a:pt x="8130" y="772"/>
                  </a:lnTo>
                  <a:lnTo>
                    <a:pt x="8106" y="788"/>
                  </a:lnTo>
                  <a:lnTo>
                    <a:pt x="8083" y="806"/>
                  </a:lnTo>
                  <a:lnTo>
                    <a:pt x="8061" y="827"/>
                  </a:lnTo>
                  <a:lnTo>
                    <a:pt x="8040" y="850"/>
                  </a:lnTo>
                  <a:lnTo>
                    <a:pt x="8021" y="874"/>
                  </a:lnTo>
                  <a:lnTo>
                    <a:pt x="8002" y="902"/>
                  </a:lnTo>
                  <a:lnTo>
                    <a:pt x="7984" y="931"/>
                  </a:lnTo>
                  <a:lnTo>
                    <a:pt x="7968" y="963"/>
                  </a:lnTo>
                  <a:lnTo>
                    <a:pt x="7951" y="997"/>
                  </a:lnTo>
                  <a:lnTo>
                    <a:pt x="7942" y="964"/>
                  </a:lnTo>
                  <a:lnTo>
                    <a:pt x="7932" y="933"/>
                  </a:lnTo>
                  <a:lnTo>
                    <a:pt x="7908" y="876"/>
                  </a:lnTo>
                  <a:lnTo>
                    <a:pt x="7893" y="852"/>
                  </a:lnTo>
                  <a:lnTo>
                    <a:pt x="7885" y="840"/>
                  </a:lnTo>
                  <a:lnTo>
                    <a:pt x="7877" y="828"/>
                  </a:lnTo>
                  <a:lnTo>
                    <a:pt x="7869" y="818"/>
                  </a:lnTo>
                  <a:lnTo>
                    <a:pt x="7859" y="808"/>
                  </a:lnTo>
                  <a:lnTo>
                    <a:pt x="7840" y="791"/>
                  </a:lnTo>
                  <a:lnTo>
                    <a:pt x="7820" y="774"/>
                  </a:lnTo>
                  <a:lnTo>
                    <a:pt x="7798" y="760"/>
                  </a:lnTo>
                  <a:lnTo>
                    <a:pt x="7773" y="748"/>
                  </a:lnTo>
                  <a:lnTo>
                    <a:pt x="7748" y="738"/>
                  </a:lnTo>
                  <a:lnTo>
                    <a:pt x="7721" y="731"/>
                  </a:lnTo>
                  <a:lnTo>
                    <a:pt x="7692" y="725"/>
                  </a:lnTo>
                  <a:lnTo>
                    <a:pt x="7662" y="722"/>
                  </a:lnTo>
                  <a:lnTo>
                    <a:pt x="7630" y="721"/>
                  </a:lnTo>
                  <a:lnTo>
                    <a:pt x="7598" y="722"/>
                  </a:lnTo>
                  <a:lnTo>
                    <a:pt x="7567" y="725"/>
                  </a:lnTo>
                  <a:lnTo>
                    <a:pt x="7537" y="730"/>
                  </a:lnTo>
                  <a:lnTo>
                    <a:pt x="7509" y="737"/>
                  </a:lnTo>
                  <a:lnTo>
                    <a:pt x="7481" y="746"/>
                  </a:lnTo>
                  <a:lnTo>
                    <a:pt x="7456" y="757"/>
                  </a:lnTo>
                  <a:lnTo>
                    <a:pt x="7431" y="771"/>
                  </a:lnTo>
                  <a:lnTo>
                    <a:pt x="7408" y="786"/>
                  </a:lnTo>
                  <a:lnTo>
                    <a:pt x="7386" y="804"/>
                  </a:lnTo>
                  <a:lnTo>
                    <a:pt x="7364" y="824"/>
                  </a:lnTo>
                  <a:lnTo>
                    <a:pt x="7344" y="846"/>
                  </a:lnTo>
                  <a:lnTo>
                    <a:pt x="7324" y="871"/>
                  </a:lnTo>
                  <a:lnTo>
                    <a:pt x="7307" y="896"/>
                  </a:lnTo>
                  <a:lnTo>
                    <a:pt x="7288" y="925"/>
                  </a:lnTo>
                  <a:lnTo>
                    <a:pt x="7270" y="956"/>
                  </a:lnTo>
                  <a:lnTo>
                    <a:pt x="7253" y="990"/>
                  </a:lnTo>
                  <a:lnTo>
                    <a:pt x="7253" y="746"/>
                  </a:lnTo>
                  <a:lnTo>
                    <a:pt x="6927" y="746"/>
                  </a:lnTo>
                  <a:lnTo>
                    <a:pt x="6927" y="1342"/>
                  </a:lnTo>
                  <a:lnTo>
                    <a:pt x="6927" y="1938"/>
                  </a:lnTo>
                  <a:lnTo>
                    <a:pt x="7266" y="1938"/>
                  </a:lnTo>
                  <a:lnTo>
                    <a:pt x="7266" y="1384"/>
                  </a:lnTo>
                  <a:lnTo>
                    <a:pt x="7267" y="1329"/>
                  </a:lnTo>
                  <a:lnTo>
                    <a:pt x="7270" y="1283"/>
                  </a:lnTo>
                  <a:lnTo>
                    <a:pt x="7276" y="1242"/>
                  </a:lnTo>
                  <a:lnTo>
                    <a:pt x="7283" y="1207"/>
                  </a:lnTo>
                  <a:lnTo>
                    <a:pt x="7290" y="1187"/>
                  </a:lnTo>
                  <a:lnTo>
                    <a:pt x="7297" y="1169"/>
                  </a:lnTo>
                  <a:lnTo>
                    <a:pt x="7314" y="1135"/>
                  </a:lnTo>
                  <a:lnTo>
                    <a:pt x="7323" y="1118"/>
                  </a:lnTo>
                  <a:lnTo>
                    <a:pt x="7334" y="1104"/>
                  </a:lnTo>
                  <a:lnTo>
                    <a:pt x="7359" y="1078"/>
                  </a:lnTo>
                  <a:lnTo>
                    <a:pt x="7386" y="1058"/>
                  </a:lnTo>
                  <a:lnTo>
                    <a:pt x="7416" y="1043"/>
                  </a:lnTo>
                  <a:lnTo>
                    <a:pt x="7431" y="1037"/>
                  </a:lnTo>
                  <a:lnTo>
                    <a:pt x="7447" y="1034"/>
                  </a:lnTo>
                  <a:lnTo>
                    <a:pt x="7481" y="1031"/>
                  </a:lnTo>
                  <a:lnTo>
                    <a:pt x="7506" y="1032"/>
                  </a:lnTo>
                  <a:lnTo>
                    <a:pt x="7530" y="1037"/>
                  </a:lnTo>
                  <a:lnTo>
                    <a:pt x="7551" y="1045"/>
                  </a:lnTo>
                  <a:lnTo>
                    <a:pt x="7570" y="1056"/>
                  </a:lnTo>
                  <a:lnTo>
                    <a:pt x="7588" y="1069"/>
                  </a:lnTo>
                  <a:lnTo>
                    <a:pt x="7602" y="1086"/>
                  </a:lnTo>
                  <a:lnTo>
                    <a:pt x="7615" y="1106"/>
                  </a:lnTo>
                  <a:lnTo>
                    <a:pt x="7621" y="1116"/>
                  </a:lnTo>
                  <a:lnTo>
                    <a:pt x="7625" y="1127"/>
                  </a:lnTo>
                  <a:lnTo>
                    <a:pt x="7638" y="1165"/>
                  </a:lnTo>
                  <a:lnTo>
                    <a:pt x="7645" y="1211"/>
                  </a:lnTo>
                  <a:lnTo>
                    <a:pt x="7650" y="1268"/>
                  </a:lnTo>
                  <a:lnTo>
                    <a:pt x="7651" y="1342"/>
                  </a:lnTo>
                  <a:lnTo>
                    <a:pt x="7651" y="1938"/>
                  </a:lnTo>
                  <a:lnTo>
                    <a:pt x="7993" y="1938"/>
                  </a:lnTo>
                  <a:lnTo>
                    <a:pt x="7993" y="1364"/>
                  </a:lnTo>
                  <a:lnTo>
                    <a:pt x="7993" y="1325"/>
                  </a:lnTo>
                  <a:lnTo>
                    <a:pt x="7996" y="1287"/>
                  </a:lnTo>
                  <a:lnTo>
                    <a:pt x="8000" y="1253"/>
                  </a:lnTo>
                  <a:lnTo>
                    <a:pt x="8006" y="1221"/>
                  </a:lnTo>
                  <a:lnTo>
                    <a:pt x="8014" y="1191"/>
                  </a:lnTo>
                  <a:lnTo>
                    <a:pt x="8023" y="1164"/>
                  </a:lnTo>
                  <a:lnTo>
                    <a:pt x="8034" y="1138"/>
                  </a:lnTo>
                  <a:lnTo>
                    <a:pt x="8046" y="1116"/>
                  </a:lnTo>
                  <a:lnTo>
                    <a:pt x="8061" y="1096"/>
                  </a:lnTo>
                  <a:lnTo>
                    <a:pt x="8078" y="1079"/>
                  </a:lnTo>
                  <a:lnTo>
                    <a:pt x="8095" y="1064"/>
                  </a:lnTo>
                  <a:lnTo>
                    <a:pt x="8114" y="1052"/>
                  </a:lnTo>
                  <a:lnTo>
                    <a:pt x="8135" y="1043"/>
                  </a:lnTo>
                  <a:lnTo>
                    <a:pt x="8158" y="1036"/>
                  </a:lnTo>
                  <a:lnTo>
                    <a:pt x="8182" y="1032"/>
                  </a:lnTo>
                  <a:lnTo>
                    <a:pt x="8208" y="1031"/>
                  </a:lnTo>
                  <a:lnTo>
                    <a:pt x="8238" y="1032"/>
                  </a:lnTo>
                  <a:lnTo>
                    <a:pt x="8264" y="1037"/>
                  </a:lnTo>
                  <a:lnTo>
                    <a:pt x="8289" y="1046"/>
                  </a:lnTo>
                  <a:lnTo>
                    <a:pt x="8310" y="1058"/>
                  </a:lnTo>
                  <a:lnTo>
                    <a:pt x="8320" y="1066"/>
                  </a:lnTo>
                  <a:lnTo>
                    <a:pt x="8329" y="1075"/>
                  </a:lnTo>
                  <a:lnTo>
                    <a:pt x="8336" y="1084"/>
                  </a:lnTo>
                  <a:lnTo>
                    <a:pt x="8343" y="1095"/>
                  </a:lnTo>
                  <a:lnTo>
                    <a:pt x="8356" y="1118"/>
                  </a:lnTo>
                  <a:lnTo>
                    <a:pt x="8365" y="1146"/>
                  </a:lnTo>
                  <a:lnTo>
                    <a:pt x="8370" y="1178"/>
                  </a:lnTo>
                  <a:lnTo>
                    <a:pt x="8374" y="1219"/>
                  </a:lnTo>
                  <a:lnTo>
                    <a:pt x="8376" y="1268"/>
                  </a:lnTo>
                  <a:lnTo>
                    <a:pt x="8377" y="1324"/>
                  </a:lnTo>
                  <a:lnTo>
                    <a:pt x="8377" y="1938"/>
                  </a:lnTo>
                  <a:lnTo>
                    <a:pt x="8720" y="1938"/>
                  </a:lnTo>
                  <a:close/>
                  <a:moveTo>
                    <a:pt x="2622" y="369"/>
                  </a:moveTo>
                  <a:lnTo>
                    <a:pt x="2584" y="372"/>
                  </a:lnTo>
                  <a:lnTo>
                    <a:pt x="2566" y="376"/>
                  </a:lnTo>
                  <a:lnTo>
                    <a:pt x="2549" y="382"/>
                  </a:lnTo>
                  <a:lnTo>
                    <a:pt x="2534" y="390"/>
                  </a:lnTo>
                  <a:lnTo>
                    <a:pt x="2519" y="399"/>
                  </a:lnTo>
                  <a:lnTo>
                    <a:pt x="2494" y="421"/>
                  </a:lnTo>
                  <a:lnTo>
                    <a:pt x="2483" y="434"/>
                  </a:lnTo>
                  <a:lnTo>
                    <a:pt x="2473" y="450"/>
                  </a:lnTo>
                  <a:lnTo>
                    <a:pt x="2465" y="465"/>
                  </a:lnTo>
                  <a:lnTo>
                    <a:pt x="2458" y="483"/>
                  </a:lnTo>
                  <a:lnTo>
                    <a:pt x="2453" y="502"/>
                  </a:lnTo>
                  <a:lnTo>
                    <a:pt x="2449" y="521"/>
                  </a:lnTo>
                  <a:lnTo>
                    <a:pt x="2446" y="542"/>
                  </a:lnTo>
                  <a:lnTo>
                    <a:pt x="2446" y="564"/>
                  </a:lnTo>
                  <a:lnTo>
                    <a:pt x="2446" y="757"/>
                  </a:lnTo>
                  <a:lnTo>
                    <a:pt x="2692" y="757"/>
                  </a:lnTo>
                  <a:lnTo>
                    <a:pt x="2692" y="1027"/>
                  </a:lnTo>
                  <a:lnTo>
                    <a:pt x="2446" y="1027"/>
                  </a:lnTo>
                  <a:lnTo>
                    <a:pt x="2446" y="1483"/>
                  </a:lnTo>
                  <a:lnTo>
                    <a:pt x="2446" y="1938"/>
                  </a:lnTo>
                  <a:lnTo>
                    <a:pt x="2107" y="1938"/>
                  </a:lnTo>
                  <a:lnTo>
                    <a:pt x="2107" y="1483"/>
                  </a:lnTo>
                  <a:lnTo>
                    <a:pt x="2107" y="1027"/>
                  </a:lnTo>
                  <a:lnTo>
                    <a:pt x="1950" y="1027"/>
                  </a:lnTo>
                  <a:lnTo>
                    <a:pt x="1950" y="757"/>
                  </a:lnTo>
                  <a:lnTo>
                    <a:pt x="2107" y="757"/>
                  </a:lnTo>
                  <a:lnTo>
                    <a:pt x="2107" y="595"/>
                  </a:lnTo>
                  <a:lnTo>
                    <a:pt x="2110" y="501"/>
                  </a:lnTo>
                  <a:lnTo>
                    <a:pt x="2115" y="454"/>
                  </a:lnTo>
                  <a:lnTo>
                    <a:pt x="2122" y="407"/>
                  </a:lnTo>
                  <a:lnTo>
                    <a:pt x="2126" y="385"/>
                  </a:lnTo>
                  <a:lnTo>
                    <a:pt x="2130" y="363"/>
                  </a:lnTo>
                  <a:lnTo>
                    <a:pt x="2144" y="320"/>
                  </a:lnTo>
                  <a:lnTo>
                    <a:pt x="2152" y="299"/>
                  </a:lnTo>
                  <a:lnTo>
                    <a:pt x="2160" y="278"/>
                  </a:lnTo>
                  <a:lnTo>
                    <a:pt x="2182" y="240"/>
                  </a:lnTo>
                  <a:lnTo>
                    <a:pt x="2207" y="203"/>
                  </a:lnTo>
                  <a:lnTo>
                    <a:pt x="2222" y="186"/>
                  </a:lnTo>
                  <a:lnTo>
                    <a:pt x="2238" y="171"/>
                  </a:lnTo>
                  <a:lnTo>
                    <a:pt x="2255" y="156"/>
                  </a:lnTo>
                  <a:lnTo>
                    <a:pt x="2274" y="142"/>
                  </a:lnTo>
                  <a:lnTo>
                    <a:pt x="2316" y="118"/>
                  </a:lnTo>
                  <a:lnTo>
                    <a:pt x="2339" y="108"/>
                  </a:lnTo>
                  <a:lnTo>
                    <a:pt x="2365" y="99"/>
                  </a:lnTo>
                  <a:lnTo>
                    <a:pt x="2391" y="90"/>
                  </a:lnTo>
                  <a:lnTo>
                    <a:pt x="2419" y="83"/>
                  </a:lnTo>
                  <a:lnTo>
                    <a:pt x="2449" y="79"/>
                  </a:lnTo>
                  <a:lnTo>
                    <a:pt x="2481" y="74"/>
                  </a:lnTo>
                  <a:lnTo>
                    <a:pt x="2516" y="72"/>
                  </a:lnTo>
                  <a:lnTo>
                    <a:pt x="2551" y="71"/>
                  </a:lnTo>
                  <a:lnTo>
                    <a:pt x="2615" y="73"/>
                  </a:lnTo>
                  <a:lnTo>
                    <a:pt x="2668" y="79"/>
                  </a:lnTo>
                  <a:lnTo>
                    <a:pt x="2721" y="88"/>
                  </a:lnTo>
                  <a:lnTo>
                    <a:pt x="2782" y="100"/>
                  </a:lnTo>
                  <a:lnTo>
                    <a:pt x="2782" y="390"/>
                  </a:lnTo>
                  <a:lnTo>
                    <a:pt x="2717" y="375"/>
                  </a:lnTo>
                  <a:lnTo>
                    <a:pt x="2676" y="371"/>
                  </a:lnTo>
                  <a:lnTo>
                    <a:pt x="2622" y="369"/>
                  </a:lnTo>
                  <a:close/>
                  <a:moveTo>
                    <a:pt x="1447" y="1554"/>
                  </a:moveTo>
                  <a:lnTo>
                    <a:pt x="1649" y="1903"/>
                  </a:lnTo>
                  <a:lnTo>
                    <a:pt x="1599" y="1930"/>
                  </a:lnTo>
                  <a:lnTo>
                    <a:pt x="1549" y="1955"/>
                  </a:lnTo>
                  <a:lnTo>
                    <a:pt x="1498" y="1976"/>
                  </a:lnTo>
                  <a:lnTo>
                    <a:pt x="1446" y="1995"/>
                  </a:lnTo>
                  <a:lnTo>
                    <a:pt x="1394" y="2010"/>
                  </a:lnTo>
                  <a:lnTo>
                    <a:pt x="1342" y="2024"/>
                  </a:lnTo>
                  <a:lnTo>
                    <a:pt x="1288" y="2035"/>
                  </a:lnTo>
                  <a:lnTo>
                    <a:pt x="1235" y="2042"/>
                  </a:lnTo>
                  <a:lnTo>
                    <a:pt x="1183" y="2047"/>
                  </a:lnTo>
                  <a:lnTo>
                    <a:pt x="1130" y="2050"/>
                  </a:lnTo>
                  <a:lnTo>
                    <a:pt x="1076" y="2050"/>
                  </a:lnTo>
                  <a:lnTo>
                    <a:pt x="1023" y="2048"/>
                  </a:lnTo>
                  <a:lnTo>
                    <a:pt x="971" y="2042"/>
                  </a:lnTo>
                  <a:lnTo>
                    <a:pt x="919" y="2036"/>
                  </a:lnTo>
                  <a:lnTo>
                    <a:pt x="866" y="2026"/>
                  </a:lnTo>
                  <a:lnTo>
                    <a:pt x="815" y="2012"/>
                  </a:lnTo>
                  <a:lnTo>
                    <a:pt x="764" y="1998"/>
                  </a:lnTo>
                  <a:lnTo>
                    <a:pt x="714" y="1981"/>
                  </a:lnTo>
                  <a:lnTo>
                    <a:pt x="690" y="1971"/>
                  </a:lnTo>
                  <a:lnTo>
                    <a:pt x="665" y="1961"/>
                  </a:lnTo>
                  <a:lnTo>
                    <a:pt x="618" y="1939"/>
                  </a:lnTo>
                  <a:lnTo>
                    <a:pt x="570" y="1915"/>
                  </a:lnTo>
                  <a:lnTo>
                    <a:pt x="524" y="1888"/>
                  </a:lnTo>
                  <a:lnTo>
                    <a:pt x="480" y="1859"/>
                  </a:lnTo>
                  <a:lnTo>
                    <a:pt x="436" y="1828"/>
                  </a:lnTo>
                  <a:lnTo>
                    <a:pt x="394" y="1795"/>
                  </a:lnTo>
                  <a:lnTo>
                    <a:pt x="353" y="1759"/>
                  </a:lnTo>
                  <a:lnTo>
                    <a:pt x="314" y="1721"/>
                  </a:lnTo>
                  <a:lnTo>
                    <a:pt x="278" y="1681"/>
                  </a:lnTo>
                  <a:lnTo>
                    <a:pt x="242" y="1639"/>
                  </a:lnTo>
                  <a:lnTo>
                    <a:pt x="209" y="1596"/>
                  </a:lnTo>
                  <a:lnTo>
                    <a:pt x="177" y="1549"/>
                  </a:lnTo>
                  <a:lnTo>
                    <a:pt x="148" y="1502"/>
                  </a:lnTo>
                  <a:lnTo>
                    <a:pt x="120" y="1452"/>
                  </a:lnTo>
                  <a:lnTo>
                    <a:pt x="97" y="1400"/>
                  </a:lnTo>
                  <a:lnTo>
                    <a:pt x="74" y="1349"/>
                  </a:lnTo>
                  <a:lnTo>
                    <a:pt x="55" y="1298"/>
                  </a:lnTo>
                  <a:lnTo>
                    <a:pt x="40" y="1246"/>
                  </a:lnTo>
                  <a:lnTo>
                    <a:pt x="27" y="1193"/>
                  </a:lnTo>
                  <a:lnTo>
                    <a:pt x="17" y="1141"/>
                  </a:lnTo>
                  <a:lnTo>
                    <a:pt x="8" y="1087"/>
                  </a:lnTo>
                  <a:lnTo>
                    <a:pt x="3" y="1034"/>
                  </a:lnTo>
                  <a:lnTo>
                    <a:pt x="0" y="981"/>
                  </a:lnTo>
                  <a:lnTo>
                    <a:pt x="0" y="928"/>
                  </a:lnTo>
                  <a:lnTo>
                    <a:pt x="2" y="875"/>
                  </a:lnTo>
                  <a:lnTo>
                    <a:pt x="8" y="822"/>
                  </a:lnTo>
                  <a:lnTo>
                    <a:pt x="15" y="770"/>
                  </a:lnTo>
                  <a:lnTo>
                    <a:pt x="25" y="718"/>
                  </a:lnTo>
                  <a:lnTo>
                    <a:pt x="38" y="667"/>
                  </a:lnTo>
                  <a:lnTo>
                    <a:pt x="52" y="616"/>
                  </a:lnTo>
                  <a:lnTo>
                    <a:pt x="70" y="566"/>
                  </a:lnTo>
                  <a:lnTo>
                    <a:pt x="79" y="542"/>
                  </a:lnTo>
                  <a:lnTo>
                    <a:pt x="89" y="517"/>
                  </a:lnTo>
                  <a:lnTo>
                    <a:pt x="111" y="470"/>
                  </a:lnTo>
                  <a:lnTo>
                    <a:pt x="135" y="422"/>
                  </a:lnTo>
                  <a:lnTo>
                    <a:pt x="162" y="376"/>
                  </a:lnTo>
                  <a:lnTo>
                    <a:pt x="191" y="332"/>
                  </a:lnTo>
                  <a:lnTo>
                    <a:pt x="222" y="289"/>
                  </a:lnTo>
                  <a:lnTo>
                    <a:pt x="255" y="246"/>
                  </a:lnTo>
                  <a:lnTo>
                    <a:pt x="291" y="205"/>
                  </a:lnTo>
                  <a:lnTo>
                    <a:pt x="329" y="166"/>
                  </a:lnTo>
                  <a:lnTo>
                    <a:pt x="369" y="130"/>
                  </a:lnTo>
                  <a:lnTo>
                    <a:pt x="411" y="94"/>
                  </a:lnTo>
                  <a:lnTo>
                    <a:pt x="455" y="61"/>
                  </a:lnTo>
                  <a:lnTo>
                    <a:pt x="501" y="29"/>
                  </a:lnTo>
                  <a:lnTo>
                    <a:pt x="550" y="0"/>
                  </a:lnTo>
                  <a:lnTo>
                    <a:pt x="825" y="74"/>
                  </a:lnTo>
                  <a:lnTo>
                    <a:pt x="751" y="349"/>
                  </a:lnTo>
                  <a:lnTo>
                    <a:pt x="720" y="369"/>
                  </a:lnTo>
                  <a:lnTo>
                    <a:pt x="690" y="389"/>
                  </a:lnTo>
                  <a:lnTo>
                    <a:pt x="661" y="411"/>
                  </a:lnTo>
                  <a:lnTo>
                    <a:pt x="634" y="434"/>
                  </a:lnTo>
                  <a:lnTo>
                    <a:pt x="608" y="459"/>
                  </a:lnTo>
                  <a:lnTo>
                    <a:pt x="584" y="484"/>
                  </a:lnTo>
                  <a:lnTo>
                    <a:pt x="540" y="537"/>
                  </a:lnTo>
                  <a:lnTo>
                    <a:pt x="520" y="565"/>
                  </a:lnTo>
                  <a:lnTo>
                    <a:pt x="502" y="594"/>
                  </a:lnTo>
                  <a:lnTo>
                    <a:pt x="485" y="624"/>
                  </a:lnTo>
                  <a:lnTo>
                    <a:pt x="470" y="655"/>
                  </a:lnTo>
                  <a:lnTo>
                    <a:pt x="455" y="686"/>
                  </a:lnTo>
                  <a:lnTo>
                    <a:pt x="443" y="717"/>
                  </a:lnTo>
                  <a:lnTo>
                    <a:pt x="424" y="782"/>
                  </a:lnTo>
                  <a:lnTo>
                    <a:pt x="410" y="848"/>
                  </a:lnTo>
                  <a:lnTo>
                    <a:pt x="403" y="915"/>
                  </a:lnTo>
                  <a:lnTo>
                    <a:pt x="401" y="948"/>
                  </a:lnTo>
                  <a:lnTo>
                    <a:pt x="401" y="982"/>
                  </a:lnTo>
                  <a:lnTo>
                    <a:pt x="403" y="1015"/>
                  </a:lnTo>
                  <a:lnTo>
                    <a:pt x="406" y="1048"/>
                  </a:lnTo>
                  <a:lnTo>
                    <a:pt x="411" y="1082"/>
                  </a:lnTo>
                  <a:lnTo>
                    <a:pt x="418" y="1115"/>
                  </a:lnTo>
                  <a:lnTo>
                    <a:pt x="426" y="1147"/>
                  </a:lnTo>
                  <a:lnTo>
                    <a:pt x="435" y="1179"/>
                  </a:lnTo>
                  <a:lnTo>
                    <a:pt x="448" y="1211"/>
                  </a:lnTo>
                  <a:lnTo>
                    <a:pt x="460" y="1242"/>
                  </a:lnTo>
                  <a:lnTo>
                    <a:pt x="475" y="1273"/>
                  </a:lnTo>
                  <a:lnTo>
                    <a:pt x="491" y="1303"/>
                  </a:lnTo>
                  <a:lnTo>
                    <a:pt x="509" y="1332"/>
                  </a:lnTo>
                  <a:lnTo>
                    <a:pt x="528" y="1359"/>
                  </a:lnTo>
                  <a:lnTo>
                    <a:pt x="570" y="1412"/>
                  </a:lnTo>
                  <a:lnTo>
                    <a:pt x="593" y="1436"/>
                  </a:lnTo>
                  <a:lnTo>
                    <a:pt x="618" y="1459"/>
                  </a:lnTo>
                  <a:lnTo>
                    <a:pt x="643" y="1482"/>
                  </a:lnTo>
                  <a:lnTo>
                    <a:pt x="669" y="1503"/>
                  </a:lnTo>
                  <a:lnTo>
                    <a:pt x="724" y="1540"/>
                  </a:lnTo>
                  <a:lnTo>
                    <a:pt x="753" y="1557"/>
                  </a:lnTo>
                  <a:lnTo>
                    <a:pt x="783" y="1573"/>
                  </a:lnTo>
                  <a:lnTo>
                    <a:pt x="844" y="1600"/>
                  </a:lnTo>
                  <a:lnTo>
                    <a:pt x="876" y="1612"/>
                  </a:lnTo>
                  <a:lnTo>
                    <a:pt x="909" y="1622"/>
                  </a:lnTo>
                  <a:lnTo>
                    <a:pt x="974" y="1636"/>
                  </a:lnTo>
                  <a:lnTo>
                    <a:pt x="1007" y="1642"/>
                  </a:lnTo>
                  <a:lnTo>
                    <a:pt x="1042" y="1645"/>
                  </a:lnTo>
                  <a:lnTo>
                    <a:pt x="1075" y="1647"/>
                  </a:lnTo>
                  <a:lnTo>
                    <a:pt x="1110" y="1647"/>
                  </a:lnTo>
                  <a:lnTo>
                    <a:pt x="1144" y="1646"/>
                  </a:lnTo>
                  <a:lnTo>
                    <a:pt x="1178" y="1643"/>
                  </a:lnTo>
                  <a:lnTo>
                    <a:pt x="1213" y="1638"/>
                  </a:lnTo>
                  <a:lnTo>
                    <a:pt x="1246" y="1632"/>
                  </a:lnTo>
                  <a:lnTo>
                    <a:pt x="1281" y="1624"/>
                  </a:lnTo>
                  <a:lnTo>
                    <a:pt x="1315" y="1614"/>
                  </a:lnTo>
                  <a:lnTo>
                    <a:pt x="1348" y="1602"/>
                  </a:lnTo>
                  <a:lnTo>
                    <a:pt x="1382" y="1587"/>
                  </a:lnTo>
                  <a:lnTo>
                    <a:pt x="1415" y="1572"/>
                  </a:lnTo>
                  <a:lnTo>
                    <a:pt x="1447" y="1554"/>
                  </a:lnTo>
                  <a:close/>
                  <a:moveTo>
                    <a:pt x="565" y="1259"/>
                  </a:moveTo>
                  <a:lnTo>
                    <a:pt x="598" y="1309"/>
                  </a:lnTo>
                  <a:lnTo>
                    <a:pt x="634" y="1356"/>
                  </a:lnTo>
                  <a:lnTo>
                    <a:pt x="676" y="1398"/>
                  </a:lnTo>
                  <a:lnTo>
                    <a:pt x="721" y="1435"/>
                  </a:lnTo>
                  <a:lnTo>
                    <a:pt x="745" y="1453"/>
                  </a:lnTo>
                  <a:lnTo>
                    <a:pt x="770" y="1468"/>
                  </a:lnTo>
                  <a:lnTo>
                    <a:pt x="821" y="1497"/>
                  </a:lnTo>
                  <a:lnTo>
                    <a:pt x="847" y="1509"/>
                  </a:lnTo>
                  <a:lnTo>
                    <a:pt x="875" y="1520"/>
                  </a:lnTo>
                  <a:lnTo>
                    <a:pt x="932" y="1539"/>
                  </a:lnTo>
                  <a:lnTo>
                    <a:pt x="990" y="1553"/>
                  </a:lnTo>
                  <a:lnTo>
                    <a:pt x="1049" y="1560"/>
                  </a:lnTo>
                  <a:lnTo>
                    <a:pt x="1108" y="1563"/>
                  </a:lnTo>
                  <a:lnTo>
                    <a:pt x="1168" y="1558"/>
                  </a:lnTo>
                  <a:lnTo>
                    <a:pt x="1228" y="1548"/>
                  </a:lnTo>
                  <a:lnTo>
                    <a:pt x="1288" y="1533"/>
                  </a:lnTo>
                  <a:lnTo>
                    <a:pt x="1347" y="1509"/>
                  </a:lnTo>
                  <a:lnTo>
                    <a:pt x="1405" y="1480"/>
                  </a:lnTo>
                  <a:lnTo>
                    <a:pt x="1460" y="1445"/>
                  </a:lnTo>
                  <a:lnTo>
                    <a:pt x="1485" y="1426"/>
                  </a:lnTo>
                  <a:lnTo>
                    <a:pt x="1508" y="1405"/>
                  </a:lnTo>
                  <a:lnTo>
                    <a:pt x="1553" y="1362"/>
                  </a:lnTo>
                  <a:lnTo>
                    <a:pt x="1592" y="1314"/>
                  </a:lnTo>
                  <a:lnTo>
                    <a:pt x="1625" y="1264"/>
                  </a:lnTo>
                  <a:lnTo>
                    <a:pt x="1639" y="1237"/>
                  </a:lnTo>
                  <a:lnTo>
                    <a:pt x="1653" y="1211"/>
                  </a:lnTo>
                  <a:lnTo>
                    <a:pt x="1665" y="1184"/>
                  </a:lnTo>
                  <a:lnTo>
                    <a:pt x="1676" y="1156"/>
                  </a:lnTo>
                  <a:lnTo>
                    <a:pt x="1693" y="1099"/>
                  </a:lnTo>
                  <a:lnTo>
                    <a:pt x="1705" y="1042"/>
                  </a:lnTo>
                  <a:lnTo>
                    <a:pt x="1709" y="1013"/>
                  </a:lnTo>
                  <a:lnTo>
                    <a:pt x="1712" y="983"/>
                  </a:lnTo>
                  <a:lnTo>
                    <a:pt x="1713" y="924"/>
                  </a:lnTo>
                  <a:lnTo>
                    <a:pt x="1708" y="866"/>
                  </a:lnTo>
                  <a:lnTo>
                    <a:pt x="1697" y="807"/>
                  </a:lnTo>
                  <a:lnTo>
                    <a:pt x="1682" y="751"/>
                  </a:lnTo>
                  <a:lnTo>
                    <a:pt x="1661" y="696"/>
                  </a:lnTo>
                  <a:lnTo>
                    <a:pt x="1634" y="643"/>
                  </a:lnTo>
                  <a:lnTo>
                    <a:pt x="1602" y="593"/>
                  </a:lnTo>
                  <a:lnTo>
                    <a:pt x="1564" y="547"/>
                  </a:lnTo>
                  <a:lnTo>
                    <a:pt x="1523" y="505"/>
                  </a:lnTo>
                  <a:lnTo>
                    <a:pt x="1501" y="485"/>
                  </a:lnTo>
                  <a:lnTo>
                    <a:pt x="1478" y="467"/>
                  </a:lnTo>
                  <a:lnTo>
                    <a:pt x="1454" y="450"/>
                  </a:lnTo>
                  <a:lnTo>
                    <a:pt x="1430" y="434"/>
                  </a:lnTo>
                  <a:lnTo>
                    <a:pt x="1378" y="405"/>
                  </a:lnTo>
                  <a:lnTo>
                    <a:pt x="1352" y="393"/>
                  </a:lnTo>
                  <a:lnTo>
                    <a:pt x="1324" y="382"/>
                  </a:lnTo>
                  <a:lnTo>
                    <a:pt x="1268" y="363"/>
                  </a:lnTo>
                  <a:lnTo>
                    <a:pt x="1240" y="356"/>
                  </a:lnTo>
                  <a:lnTo>
                    <a:pt x="1211" y="350"/>
                  </a:lnTo>
                  <a:lnTo>
                    <a:pt x="1181" y="345"/>
                  </a:lnTo>
                  <a:lnTo>
                    <a:pt x="1152" y="342"/>
                  </a:lnTo>
                  <a:lnTo>
                    <a:pt x="1092" y="340"/>
                  </a:lnTo>
                  <a:lnTo>
                    <a:pt x="1031" y="344"/>
                  </a:lnTo>
                  <a:lnTo>
                    <a:pt x="971" y="354"/>
                  </a:lnTo>
                  <a:lnTo>
                    <a:pt x="911" y="370"/>
                  </a:lnTo>
                  <a:lnTo>
                    <a:pt x="881" y="381"/>
                  </a:lnTo>
                  <a:lnTo>
                    <a:pt x="852" y="393"/>
                  </a:lnTo>
                  <a:lnTo>
                    <a:pt x="823" y="406"/>
                  </a:lnTo>
                  <a:lnTo>
                    <a:pt x="794" y="423"/>
                  </a:lnTo>
                  <a:lnTo>
                    <a:pt x="766" y="440"/>
                  </a:lnTo>
                  <a:lnTo>
                    <a:pt x="740" y="457"/>
                  </a:lnTo>
                  <a:lnTo>
                    <a:pt x="714" y="476"/>
                  </a:lnTo>
                  <a:lnTo>
                    <a:pt x="691" y="497"/>
                  </a:lnTo>
                  <a:lnTo>
                    <a:pt x="646" y="541"/>
                  </a:lnTo>
                  <a:lnTo>
                    <a:pt x="609" y="589"/>
                  </a:lnTo>
                  <a:lnTo>
                    <a:pt x="574" y="639"/>
                  </a:lnTo>
                  <a:lnTo>
                    <a:pt x="560" y="664"/>
                  </a:lnTo>
                  <a:lnTo>
                    <a:pt x="546" y="692"/>
                  </a:lnTo>
                  <a:lnTo>
                    <a:pt x="534" y="718"/>
                  </a:lnTo>
                  <a:lnTo>
                    <a:pt x="524" y="746"/>
                  </a:lnTo>
                  <a:lnTo>
                    <a:pt x="506" y="803"/>
                  </a:lnTo>
                  <a:lnTo>
                    <a:pt x="494" y="861"/>
                  </a:lnTo>
                  <a:lnTo>
                    <a:pt x="488" y="920"/>
                  </a:lnTo>
                  <a:lnTo>
                    <a:pt x="486" y="978"/>
                  </a:lnTo>
                  <a:lnTo>
                    <a:pt x="491" y="1037"/>
                  </a:lnTo>
                  <a:lnTo>
                    <a:pt x="495" y="1066"/>
                  </a:lnTo>
                  <a:lnTo>
                    <a:pt x="501" y="1095"/>
                  </a:lnTo>
                  <a:lnTo>
                    <a:pt x="516" y="1152"/>
                  </a:lnTo>
                  <a:lnTo>
                    <a:pt x="538" y="1207"/>
                  </a:lnTo>
                  <a:lnTo>
                    <a:pt x="565" y="12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1" name="Freeform 8"/>
            <p:cNvSpPr>
              <a:spLocks/>
            </p:cNvSpPr>
            <p:nvPr userDrawn="1"/>
          </p:nvSpPr>
          <p:spPr bwMode="auto">
            <a:xfrm>
              <a:off x="10176312" y="5785848"/>
              <a:ext cx="730621" cy="426079"/>
            </a:xfrm>
            <a:custGeom>
              <a:avLst/>
              <a:gdLst>
                <a:gd name="T0" fmla="*/ 0 w 5232"/>
                <a:gd name="T1" fmla="*/ 3051 h 3051"/>
                <a:gd name="T2" fmla="*/ 653 w 5232"/>
                <a:gd name="T3" fmla="*/ 3051 h 3051"/>
                <a:gd name="T4" fmla="*/ 1307 w 5232"/>
                <a:gd name="T5" fmla="*/ 3051 h 3051"/>
                <a:gd name="T6" fmla="*/ 1962 w 5232"/>
                <a:gd name="T7" fmla="*/ 3051 h 3051"/>
                <a:gd name="T8" fmla="*/ 2616 w 5232"/>
                <a:gd name="T9" fmla="*/ 3051 h 3051"/>
                <a:gd name="T10" fmla="*/ 3269 w 5232"/>
                <a:gd name="T11" fmla="*/ 3051 h 3051"/>
                <a:gd name="T12" fmla="*/ 3923 w 5232"/>
                <a:gd name="T13" fmla="*/ 3051 h 3051"/>
                <a:gd name="T14" fmla="*/ 4578 w 5232"/>
                <a:gd name="T15" fmla="*/ 3051 h 3051"/>
                <a:gd name="T16" fmla="*/ 5232 w 5232"/>
                <a:gd name="T17" fmla="*/ 3051 h 3051"/>
                <a:gd name="T18" fmla="*/ 5232 w 5232"/>
                <a:gd name="T19" fmla="*/ 2288 h 3051"/>
                <a:gd name="T20" fmla="*/ 5232 w 5232"/>
                <a:gd name="T21" fmla="*/ 1525 h 3051"/>
                <a:gd name="T22" fmla="*/ 5232 w 5232"/>
                <a:gd name="T23" fmla="*/ 762 h 3051"/>
                <a:gd name="T24" fmla="*/ 5232 w 5232"/>
                <a:gd name="T25" fmla="*/ 0 h 3051"/>
                <a:gd name="T26" fmla="*/ 4578 w 5232"/>
                <a:gd name="T27" fmla="*/ 0 h 3051"/>
                <a:gd name="T28" fmla="*/ 3923 w 5232"/>
                <a:gd name="T29" fmla="*/ 0 h 3051"/>
                <a:gd name="T30" fmla="*/ 3269 w 5232"/>
                <a:gd name="T31" fmla="*/ 0 h 3051"/>
                <a:gd name="T32" fmla="*/ 2616 w 5232"/>
                <a:gd name="T33" fmla="*/ 0 h 3051"/>
                <a:gd name="T34" fmla="*/ 1962 w 5232"/>
                <a:gd name="T35" fmla="*/ 0 h 3051"/>
                <a:gd name="T36" fmla="*/ 1307 w 5232"/>
                <a:gd name="T37" fmla="*/ 0 h 3051"/>
                <a:gd name="T38" fmla="*/ 653 w 5232"/>
                <a:gd name="T39" fmla="*/ 0 h 3051"/>
                <a:gd name="T40" fmla="*/ 0 w 5232"/>
                <a:gd name="T41" fmla="*/ 0 h 3051"/>
                <a:gd name="T42" fmla="*/ 0 w 5232"/>
                <a:gd name="T43" fmla="*/ 762 h 3051"/>
                <a:gd name="T44" fmla="*/ 0 w 5232"/>
                <a:gd name="T45" fmla="*/ 1525 h 3051"/>
                <a:gd name="T46" fmla="*/ 0 w 5232"/>
                <a:gd name="T47" fmla="*/ 2288 h 3051"/>
                <a:gd name="T48" fmla="*/ 0 w 5232"/>
                <a:gd name="T49" fmla="*/ 3051 h 3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32" h="3051">
                  <a:moveTo>
                    <a:pt x="0" y="3051"/>
                  </a:moveTo>
                  <a:lnTo>
                    <a:pt x="653" y="3051"/>
                  </a:lnTo>
                  <a:lnTo>
                    <a:pt x="1307" y="3051"/>
                  </a:lnTo>
                  <a:lnTo>
                    <a:pt x="1962" y="3051"/>
                  </a:lnTo>
                  <a:lnTo>
                    <a:pt x="2616" y="3051"/>
                  </a:lnTo>
                  <a:lnTo>
                    <a:pt x="3269" y="3051"/>
                  </a:lnTo>
                  <a:lnTo>
                    <a:pt x="3923" y="3051"/>
                  </a:lnTo>
                  <a:lnTo>
                    <a:pt x="4578" y="3051"/>
                  </a:lnTo>
                  <a:lnTo>
                    <a:pt x="5232" y="3051"/>
                  </a:lnTo>
                  <a:lnTo>
                    <a:pt x="5232" y="2288"/>
                  </a:lnTo>
                  <a:lnTo>
                    <a:pt x="5232" y="1525"/>
                  </a:lnTo>
                  <a:lnTo>
                    <a:pt x="5232" y="762"/>
                  </a:lnTo>
                  <a:lnTo>
                    <a:pt x="5232" y="0"/>
                  </a:lnTo>
                  <a:lnTo>
                    <a:pt x="4578" y="0"/>
                  </a:lnTo>
                  <a:lnTo>
                    <a:pt x="3923" y="0"/>
                  </a:lnTo>
                  <a:lnTo>
                    <a:pt x="3269" y="0"/>
                  </a:lnTo>
                  <a:lnTo>
                    <a:pt x="2616" y="0"/>
                  </a:lnTo>
                  <a:lnTo>
                    <a:pt x="1962" y="0"/>
                  </a:lnTo>
                  <a:lnTo>
                    <a:pt x="1307" y="0"/>
                  </a:lnTo>
                  <a:lnTo>
                    <a:pt x="653" y="0"/>
                  </a:lnTo>
                  <a:lnTo>
                    <a:pt x="0" y="0"/>
                  </a:lnTo>
                  <a:lnTo>
                    <a:pt x="0" y="762"/>
                  </a:lnTo>
                  <a:lnTo>
                    <a:pt x="0" y="1525"/>
                  </a:lnTo>
                  <a:lnTo>
                    <a:pt x="0" y="2288"/>
                  </a:lnTo>
                  <a:lnTo>
                    <a:pt x="0" y="3051"/>
                  </a:lnTo>
                  <a:close/>
                </a:path>
              </a:pathLst>
            </a:custGeom>
            <a:solidFill>
              <a:srgbClr val="377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3" name="Freeform 9"/>
            <p:cNvSpPr>
              <a:spLocks noEditPoints="1"/>
            </p:cNvSpPr>
            <p:nvPr userDrawn="1"/>
          </p:nvSpPr>
          <p:spPr bwMode="auto">
            <a:xfrm>
              <a:off x="10293658" y="5873858"/>
              <a:ext cx="491737" cy="272412"/>
            </a:xfrm>
            <a:custGeom>
              <a:avLst/>
              <a:gdLst>
                <a:gd name="T0" fmla="*/ 278 w 3517"/>
                <a:gd name="T1" fmla="*/ 1564 h 1954"/>
                <a:gd name="T2" fmla="*/ 190 w 3517"/>
                <a:gd name="T3" fmla="*/ 1377 h 1954"/>
                <a:gd name="T4" fmla="*/ 466 w 3517"/>
                <a:gd name="T5" fmla="*/ 1198 h 1954"/>
                <a:gd name="T6" fmla="*/ 105 w 3517"/>
                <a:gd name="T7" fmla="*/ 1218 h 1954"/>
                <a:gd name="T8" fmla="*/ 22 w 3517"/>
                <a:gd name="T9" fmla="*/ 1558 h 1954"/>
                <a:gd name="T10" fmla="*/ 508 w 3517"/>
                <a:gd name="T11" fmla="*/ 903 h 1954"/>
                <a:gd name="T12" fmla="*/ 824 w 3517"/>
                <a:gd name="T13" fmla="*/ 1318 h 1954"/>
                <a:gd name="T14" fmla="*/ 1034 w 3517"/>
                <a:gd name="T15" fmla="*/ 1269 h 1954"/>
                <a:gd name="T16" fmla="*/ 800 w 3517"/>
                <a:gd name="T17" fmla="*/ 1165 h 1954"/>
                <a:gd name="T18" fmla="*/ 1476 w 3517"/>
                <a:gd name="T19" fmla="*/ 1679 h 1954"/>
                <a:gd name="T20" fmla="*/ 1372 w 3517"/>
                <a:gd name="T21" fmla="*/ 1161 h 1954"/>
                <a:gd name="T22" fmla="*/ 1104 w 3517"/>
                <a:gd name="T23" fmla="*/ 1333 h 1954"/>
                <a:gd name="T24" fmla="*/ 1201 w 3517"/>
                <a:gd name="T25" fmla="*/ 1684 h 1954"/>
                <a:gd name="T26" fmla="*/ 1288 w 3517"/>
                <a:gd name="T27" fmla="*/ 1514 h 1954"/>
                <a:gd name="T28" fmla="*/ 1370 w 3517"/>
                <a:gd name="T29" fmla="*/ 1318 h 1954"/>
                <a:gd name="T30" fmla="*/ 1506 w 3517"/>
                <a:gd name="T31" fmla="*/ 1482 h 1954"/>
                <a:gd name="T32" fmla="*/ 1977 w 3517"/>
                <a:gd name="T33" fmla="*/ 1198 h 1954"/>
                <a:gd name="T34" fmla="*/ 1980 w 3517"/>
                <a:gd name="T35" fmla="*/ 1323 h 1954"/>
                <a:gd name="T36" fmla="*/ 2300 w 3517"/>
                <a:gd name="T37" fmla="*/ 1364 h 1954"/>
                <a:gd name="T38" fmla="*/ 2142 w 3517"/>
                <a:gd name="T39" fmla="*/ 1162 h 1954"/>
                <a:gd name="T40" fmla="*/ 2902 w 3517"/>
                <a:gd name="T41" fmla="*/ 1848 h 1954"/>
                <a:gd name="T42" fmla="*/ 2659 w 3517"/>
                <a:gd name="T43" fmla="*/ 1168 h 1954"/>
                <a:gd name="T44" fmla="*/ 2361 w 3517"/>
                <a:gd name="T45" fmla="*/ 1305 h 1954"/>
                <a:gd name="T46" fmla="*/ 2418 w 3517"/>
                <a:gd name="T47" fmla="*/ 1656 h 1954"/>
                <a:gd name="T48" fmla="*/ 2734 w 3517"/>
                <a:gd name="T49" fmla="*/ 1666 h 1954"/>
                <a:gd name="T50" fmla="*/ 2605 w 3517"/>
                <a:gd name="T51" fmla="*/ 1790 h 1954"/>
                <a:gd name="T52" fmla="*/ 2549 w 3517"/>
                <a:gd name="T53" fmla="*/ 1532 h 1954"/>
                <a:gd name="T54" fmla="*/ 2599 w 3517"/>
                <a:gd name="T55" fmla="*/ 1323 h 1954"/>
                <a:gd name="T56" fmla="*/ 2756 w 3517"/>
                <a:gd name="T57" fmla="*/ 1468 h 1954"/>
                <a:gd name="T58" fmla="*/ 3141 w 3517"/>
                <a:gd name="T59" fmla="*/ 1179 h 1954"/>
                <a:gd name="T60" fmla="*/ 2975 w 3517"/>
                <a:gd name="T61" fmla="*/ 1475 h 1954"/>
                <a:gd name="T62" fmla="*/ 3206 w 3517"/>
                <a:gd name="T63" fmla="*/ 1719 h 1954"/>
                <a:gd name="T64" fmla="*/ 3308 w 3517"/>
                <a:gd name="T65" fmla="*/ 1577 h 1954"/>
                <a:gd name="T66" fmla="*/ 3512 w 3517"/>
                <a:gd name="T67" fmla="*/ 1376 h 1954"/>
                <a:gd name="T68" fmla="*/ 3284 w 3517"/>
                <a:gd name="T69" fmla="*/ 1161 h 1954"/>
                <a:gd name="T70" fmla="*/ 3150 w 3517"/>
                <a:gd name="T71" fmla="*/ 1336 h 1954"/>
                <a:gd name="T72" fmla="*/ 253 w 3517"/>
                <a:gd name="T73" fmla="*/ 744 h 1954"/>
                <a:gd name="T74" fmla="*/ 99 w 3517"/>
                <a:gd name="T75" fmla="*/ 630 h 1954"/>
                <a:gd name="T76" fmla="*/ 854 w 3517"/>
                <a:gd name="T77" fmla="*/ 734 h 1954"/>
                <a:gd name="T78" fmla="*/ 486 w 3517"/>
                <a:gd name="T79" fmla="*/ 790 h 1954"/>
                <a:gd name="T80" fmla="*/ 341 w 3517"/>
                <a:gd name="T81" fmla="*/ 463 h 1954"/>
                <a:gd name="T82" fmla="*/ 630 w 3517"/>
                <a:gd name="T83" fmla="*/ 255 h 1954"/>
                <a:gd name="T84" fmla="*/ 920 w 3517"/>
                <a:gd name="T85" fmla="*/ 463 h 1954"/>
                <a:gd name="T86" fmla="*/ 643 w 3517"/>
                <a:gd name="T87" fmla="*/ 662 h 1954"/>
                <a:gd name="T88" fmla="*/ 733 w 3517"/>
                <a:gd name="T89" fmla="*/ 465 h 1954"/>
                <a:gd name="T90" fmla="*/ 516 w 3517"/>
                <a:gd name="T91" fmla="*/ 488 h 1954"/>
                <a:gd name="T92" fmla="*/ 1555 w 3517"/>
                <a:gd name="T93" fmla="*/ 440 h 1954"/>
                <a:gd name="T94" fmla="*/ 1383 w 3517"/>
                <a:gd name="T95" fmla="*/ 484 h 1954"/>
                <a:gd name="T96" fmla="*/ 1550 w 3517"/>
                <a:gd name="T97" fmla="*/ 255 h 1954"/>
                <a:gd name="T98" fmla="*/ 1745 w 3517"/>
                <a:gd name="T99" fmla="*/ 422 h 1954"/>
                <a:gd name="T100" fmla="*/ 2184 w 3517"/>
                <a:gd name="T101" fmla="*/ 799 h 1954"/>
                <a:gd name="T102" fmla="*/ 2062 w 3517"/>
                <a:gd name="T103" fmla="*/ 60 h 1954"/>
                <a:gd name="T104" fmla="*/ 2760 w 3517"/>
                <a:gd name="T105" fmla="*/ 258 h 1954"/>
                <a:gd name="T106" fmla="*/ 2927 w 3517"/>
                <a:gd name="T107" fmla="*/ 448 h 1954"/>
                <a:gd name="T108" fmla="*/ 2627 w 3517"/>
                <a:gd name="T109" fmla="*/ 412 h 1954"/>
                <a:gd name="T110" fmla="*/ 3128 w 3517"/>
                <a:gd name="T111" fmla="*/ 592 h 1954"/>
                <a:gd name="T112" fmla="*/ 3386 w 3517"/>
                <a:gd name="T113" fmla="*/ 645 h 1954"/>
                <a:gd name="T114" fmla="*/ 3124 w 3517"/>
                <a:gd name="T115" fmla="*/ 796 h 1954"/>
                <a:gd name="T116" fmla="*/ 2965 w 3517"/>
                <a:gd name="T117" fmla="*/ 492 h 1954"/>
                <a:gd name="T118" fmla="*/ 3213 w 3517"/>
                <a:gd name="T119" fmla="*/ 258 h 1954"/>
                <a:gd name="T120" fmla="*/ 3483 w 3517"/>
                <a:gd name="T121" fmla="*/ 402 h 1954"/>
                <a:gd name="T122" fmla="*/ 3257 w 3517"/>
                <a:gd name="T123" fmla="*/ 382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17" h="1954">
                  <a:moveTo>
                    <a:pt x="296" y="1724"/>
                  </a:moveTo>
                  <a:lnTo>
                    <a:pt x="309" y="1724"/>
                  </a:lnTo>
                  <a:lnTo>
                    <a:pt x="322" y="1724"/>
                  </a:lnTo>
                  <a:lnTo>
                    <a:pt x="336" y="1723"/>
                  </a:lnTo>
                  <a:lnTo>
                    <a:pt x="349" y="1720"/>
                  </a:lnTo>
                  <a:lnTo>
                    <a:pt x="361" y="1719"/>
                  </a:lnTo>
                  <a:lnTo>
                    <a:pt x="373" y="1717"/>
                  </a:lnTo>
                  <a:lnTo>
                    <a:pt x="398" y="1710"/>
                  </a:lnTo>
                  <a:lnTo>
                    <a:pt x="421" y="1704"/>
                  </a:lnTo>
                  <a:lnTo>
                    <a:pt x="432" y="1699"/>
                  </a:lnTo>
                  <a:lnTo>
                    <a:pt x="443" y="1695"/>
                  </a:lnTo>
                  <a:lnTo>
                    <a:pt x="466" y="1684"/>
                  </a:lnTo>
                  <a:lnTo>
                    <a:pt x="487" y="1673"/>
                  </a:lnTo>
                  <a:lnTo>
                    <a:pt x="416" y="1534"/>
                  </a:lnTo>
                  <a:lnTo>
                    <a:pt x="403" y="1540"/>
                  </a:lnTo>
                  <a:lnTo>
                    <a:pt x="391" y="1547"/>
                  </a:lnTo>
                  <a:lnTo>
                    <a:pt x="379" y="1553"/>
                  </a:lnTo>
                  <a:lnTo>
                    <a:pt x="372" y="1555"/>
                  </a:lnTo>
                  <a:lnTo>
                    <a:pt x="366" y="1557"/>
                  </a:lnTo>
                  <a:lnTo>
                    <a:pt x="351" y="1560"/>
                  </a:lnTo>
                  <a:lnTo>
                    <a:pt x="343" y="1563"/>
                  </a:lnTo>
                  <a:lnTo>
                    <a:pt x="336" y="1564"/>
                  </a:lnTo>
                  <a:lnTo>
                    <a:pt x="328" y="1565"/>
                  </a:lnTo>
                  <a:lnTo>
                    <a:pt x="320" y="1565"/>
                  </a:lnTo>
                  <a:lnTo>
                    <a:pt x="303" y="1566"/>
                  </a:lnTo>
                  <a:lnTo>
                    <a:pt x="290" y="1565"/>
                  </a:lnTo>
                  <a:lnTo>
                    <a:pt x="278" y="1564"/>
                  </a:lnTo>
                  <a:lnTo>
                    <a:pt x="266" y="1560"/>
                  </a:lnTo>
                  <a:lnTo>
                    <a:pt x="253" y="1557"/>
                  </a:lnTo>
                  <a:lnTo>
                    <a:pt x="242" y="1553"/>
                  </a:lnTo>
                  <a:lnTo>
                    <a:pt x="232" y="1547"/>
                  </a:lnTo>
                  <a:lnTo>
                    <a:pt x="222" y="1540"/>
                  </a:lnTo>
                  <a:lnTo>
                    <a:pt x="217" y="1537"/>
                  </a:lnTo>
                  <a:lnTo>
                    <a:pt x="212" y="1534"/>
                  </a:lnTo>
                  <a:lnTo>
                    <a:pt x="203" y="1525"/>
                  </a:lnTo>
                  <a:lnTo>
                    <a:pt x="197" y="1516"/>
                  </a:lnTo>
                  <a:lnTo>
                    <a:pt x="192" y="1510"/>
                  </a:lnTo>
                  <a:lnTo>
                    <a:pt x="190" y="1505"/>
                  </a:lnTo>
                  <a:lnTo>
                    <a:pt x="183" y="1495"/>
                  </a:lnTo>
                  <a:lnTo>
                    <a:pt x="181" y="1488"/>
                  </a:lnTo>
                  <a:lnTo>
                    <a:pt x="179" y="1483"/>
                  </a:lnTo>
                  <a:lnTo>
                    <a:pt x="178" y="1476"/>
                  </a:lnTo>
                  <a:lnTo>
                    <a:pt x="176" y="1469"/>
                  </a:lnTo>
                  <a:lnTo>
                    <a:pt x="175" y="1463"/>
                  </a:lnTo>
                  <a:lnTo>
                    <a:pt x="175" y="1456"/>
                  </a:lnTo>
                  <a:lnTo>
                    <a:pt x="173" y="1449"/>
                  </a:lnTo>
                  <a:lnTo>
                    <a:pt x="173" y="1442"/>
                  </a:lnTo>
                  <a:lnTo>
                    <a:pt x="173" y="1434"/>
                  </a:lnTo>
                  <a:lnTo>
                    <a:pt x="175" y="1427"/>
                  </a:lnTo>
                  <a:lnTo>
                    <a:pt x="176" y="1414"/>
                  </a:lnTo>
                  <a:lnTo>
                    <a:pt x="178" y="1407"/>
                  </a:lnTo>
                  <a:lnTo>
                    <a:pt x="179" y="1401"/>
                  </a:lnTo>
                  <a:lnTo>
                    <a:pt x="183" y="1388"/>
                  </a:lnTo>
                  <a:lnTo>
                    <a:pt x="190" y="1377"/>
                  </a:lnTo>
                  <a:lnTo>
                    <a:pt x="192" y="1373"/>
                  </a:lnTo>
                  <a:lnTo>
                    <a:pt x="197" y="1367"/>
                  </a:lnTo>
                  <a:lnTo>
                    <a:pt x="200" y="1363"/>
                  </a:lnTo>
                  <a:lnTo>
                    <a:pt x="203" y="1358"/>
                  </a:lnTo>
                  <a:lnTo>
                    <a:pt x="208" y="1354"/>
                  </a:lnTo>
                  <a:lnTo>
                    <a:pt x="212" y="1349"/>
                  </a:lnTo>
                  <a:lnTo>
                    <a:pt x="222" y="1343"/>
                  </a:lnTo>
                  <a:lnTo>
                    <a:pt x="232" y="1336"/>
                  </a:lnTo>
                  <a:lnTo>
                    <a:pt x="242" y="1331"/>
                  </a:lnTo>
                  <a:lnTo>
                    <a:pt x="248" y="1328"/>
                  </a:lnTo>
                  <a:lnTo>
                    <a:pt x="253" y="1326"/>
                  </a:lnTo>
                  <a:lnTo>
                    <a:pt x="266" y="1322"/>
                  </a:lnTo>
                  <a:lnTo>
                    <a:pt x="271" y="1321"/>
                  </a:lnTo>
                  <a:lnTo>
                    <a:pt x="278" y="1319"/>
                  </a:lnTo>
                  <a:lnTo>
                    <a:pt x="290" y="1318"/>
                  </a:lnTo>
                  <a:lnTo>
                    <a:pt x="303" y="1317"/>
                  </a:lnTo>
                  <a:lnTo>
                    <a:pt x="320" y="1318"/>
                  </a:lnTo>
                  <a:lnTo>
                    <a:pt x="328" y="1318"/>
                  </a:lnTo>
                  <a:lnTo>
                    <a:pt x="336" y="1319"/>
                  </a:lnTo>
                  <a:lnTo>
                    <a:pt x="351" y="1322"/>
                  </a:lnTo>
                  <a:lnTo>
                    <a:pt x="366" y="1326"/>
                  </a:lnTo>
                  <a:lnTo>
                    <a:pt x="379" y="1331"/>
                  </a:lnTo>
                  <a:lnTo>
                    <a:pt x="391" y="1336"/>
                  </a:lnTo>
                  <a:lnTo>
                    <a:pt x="403" y="1343"/>
                  </a:lnTo>
                  <a:lnTo>
                    <a:pt x="416" y="1349"/>
                  </a:lnTo>
                  <a:lnTo>
                    <a:pt x="487" y="1211"/>
                  </a:lnTo>
                  <a:lnTo>
                    <a:pt x="466" y="1198"/>
                  </a:lnTo>
                  <a:lnTo>
                    <a:pt x="443" y="1188"/>
                  </a:lnTo>
                  <a:lnTo>
                    <a:pt x="432" y="1184"/>
                  </a:lnTo>
                  <a:lnTo>
                    <a:pt x="421" y="1179"/>
                  </a:lnTo>
                  <a:lnTo>
                    <a:pt x="409" y="1176"/>
                  </a:lnTo>
                  <a:lnTo>
                    <a:pt x="398" y="1172"/>
                  </a:lnTo>
                  <a:lnTo>
                    <a:pt x="386" y="1169"/>
                  </a:lnTo>
                  <a:lnTo>
                    <a:pt x="373" y="1166"/>
                  </a:lnTo>
                  <a:lnTo>
                    <a:pt x="361" y="1164"/>
                  </a:lnTo>
                  <a:lnTo>
                    <a:pt x="349" y="1163"/>
                  </a:lnTo>
                  <a:lnTo>
                    <a:pt x="336" y="1161"/>
                  </a:lnTo>
                  <a:lnTo>
                    <a:pt x="322" y="1160"/>
                  </a:lnTo>
                  <a:lnTo>
                    <a:pt x="296" y="1158"/>
                  </a:lnTo>
                  <a:lnTo>
                    <a:pt x="279" y="1160"/>
                  </a:lnTo>
                  <a:lnTo>
                    <a:pt x="263" y="1161"/>
                  </a:lnTo>
                  <a:lnTo>
                    <a:pt x="249" y="1162"/>
                  </a:lnTo>
                  <a:lnTo>
                    <a:pt x="233" y="1164"/>
                  </a:lnTo>
                  <a:lnTo>
                    <a:pt x="219" y="1167"/>
                  </a:lnTo>
                  <a:lnTo>
                    <a:pt x="205" y="1171"/>
                  </a:lnTo>
                  <a:lnTo>
                    <a:pt x="198" y="1172"/>
                  </a:lnTo>
                  <a:lnTo>
                    <a:pt x="191" y="1174"/>
                  </a:lnTo>
                  <a:lnTo>
                    <a:pt x="177" y="1179"/>
                  </a:lnTo>
                  <a:lnTo>
                    <a:pt x="165" y="1184"/>
                  </a:lnTo>
                  <a:lnTo>
                    <a:pt x="151" y="1189"/>
                  </a:lnTo>
                  <a:lnTo>
                    <a:pt x="139" y="1196"/>
                  </a:lnTo>
                  <a:lnTo>
                    <a:pt x="127" y="1203"/>
                  </a:lnTo>
                  <a:lnTo>
                    <a:pt x="116" y="1211"/>
                  </a:lnTo>
                  <a:lnTo>
                    <a:pt x="105" y="1218"/>
                  </a:lnTo>
                  <a:lnTo>
                    <a:pt x="94" y="1227"/>
                  </a:lnTo>
                  <a:lnTo>
                    <a:pt x="84" y="1236"/>
                  </a:lnTo>
                  <a:lnTo>
                    <a:pt x="75" y="1245"/>
                  </a:lnTo>
                  <a:lnTo>
                    <a:pt x="65" y="1255"/>
                  </a:lnTo>
                  <a:lnTo>
                    <a:pt x="57" y="1266"/>
                  </a:lnTo>
                  <a:lnTo>
                    <a:pt x="48" y="1277"/>
                  </a:lnTo>
                  <a:lnTo>
                    <a:pt x="41" y="1288"/>
                  </a:lnTo>
                  <a:lnTo>
                    <a:pt x="35" y="1301"/>
                  </a:lnTo>
                  <a:lnTo>
                    <a:pt x="28" y="1313"/>
                  </a:lnTo>
                  <a:lnTo>
                    <a:pt x="22" y="1325"/>
                  </a:lnTo>
                  <a:lnTo>
                    <a:pt x="17" y="1338"/>
                  </a:lnTo>
                  <a:lnTo>
                    <a:pt x="12" y="1352"/>
                  </a:lnTo>
                  <a:lnTo>
                    <a:pt x="9" y="1366"/>
                  </a:lnTo>
                  <a:lnTo>
                    <a:pt x="6" y="1381"/>
                  </a:lnTo>
                  <a:lnTo>
                    <a:pt x="4" y="1395"/>
                  </a:lnTo>
                  <a:lnTo>
                    <a:pt x="2" y="1403"/>
                  </a:lnTo>
                  <a:lnTo>
                    <a:pt x="1" y="1411"/>
                  </a:lnTo>
                  <a:lnTo>
                    <a:pt x="0" y="1426"/>
                  </a:lnTo>
                  <a:lnTo>
                    <a:pt x="0" y="1442"/>
                  </a:lnTo>
                  <a:lnTo>
                    <a:pt x="0" y="1457"/>
                  </a:lnTo>
                  <a:lnTo>
                    <a:pt x="1" y="1473"/>
                  </a:lnTo>
                  <a:lnTo>
                    <a:pt x="4" y="1488"/>
                  </a:lnTo>
                  <a:lnTo>
                    <a:pt x="6" y="1503"/>
                  </a:lnTo>
                  <a:lnTo>
                    <a:pt x="9" y="1517"/>
                  </a:lnTo>
                  <a:lnTo>
                    <a:pt x="12" y="1532"/>
                  </a:lnTo>
                  <a:lnTo>
                    <a:pt x="17" y="1545"/>
                  </a:lnTo>
                  <a:lnTo>
                    <a:pt x="22" y="1558"/>
                  </a:lnTo>
                  <a:lnTo>
                    <a:pt x="25" y="1565"/>
                  </a:lnTo>
                  <a:lnTo>
                    <a:pt x="28" y="1570"/>
                  </a:lnTo>
                  <a:lnTo>
                    <a:pt x="35" y="1583"/>
                  </a:lnTo>
                  <a:lnTo>
                    <a:pt x="41" y="1595"/>
                  </a:lnTo>
                  <a:lnTo>
                    <a:pt x="48" y="1606"/>
                  </a:lnTo>
                  <a:lnTo>
                    <a:pt x="57" y="1617"/>
                  </a:lnTo>
                  <a:lnTo>
                    <a:pt x="65" y="1627"/>
                  </a:lnTo>
                  <a:lnTo>
                    <a:pt x="75" y="1637"/>
                  </a:lnTo>
                  <a:lnTo>
                    <a:pt x="84" y="1647"/>
                  </a:lnTo>
                  <a:lnTo>
                    <a:pt x="94" y="1656"/>
                  </a:lnTo>
                  <a:lnTo>
                    <a:pt x="105" y="1665"/>
                  </a:lnTo>
                  <a:lnTo>
                    <a:pt x="116" y="1673"/>
                  </a:lnTo>
                  <a:lnTo>
                    <a:pt x="127" y="1680"/>
                  </a:lnTo>
                  <a:lnTo>
                    <a:pt x="139" y="1687"/>
                  </a:lnTo>
                  <a:lnTo>
                    <a:pt x="151" y="1693"/>
                  </a:lnTo>
                  <a:lnTo>
                    <a:pt x="165" y="1699"/>
                  </a:lnTo>
                  <a:lnTo>
                    <a:pt x="177" y="1704"/>
                  </a:lnTo>
                  <a:lnTo>
                    <a:pt x="191" y="1708"/>
                  </a:lnTo>
                  <a:lnTo>
                    <a:pt x="205" y="1713"/>
                  </a:lnTo>
                  <a:lnTo>
                    <a:pt x="219" y="1716"/>
                  </a:lnTo>
                  <a:lnTo>
                    <a:pt x="233" y="1719"/>
                  </a:lnTo>
                  <a:lnTo>
                    <a:pt x="249" y="1722"/>
                  </a:lnTo>
                  <a:lnTo>
                    <a:pt x="263" y="1723"/>
                  </a:lnTo>
                  <a:lnTo>
                    <a:pt x="279" y="1724"/>
                  </a:lnTo>
                  <a:lnTo>
                    <a:pt x="296" y="1724"/>
                  </a:lnTo>
                  <a:close/>
                  <a:moveTo>
                    <a:pt x="681" y="903"/>
                  </a:moveTo>
                  <a:lnTo>
                    <a:pt x="508" y="903"/>
                  </a:lnTo>
                  <a:lnTo>
                    <a:pt x="508" y="1707"/>
                  </a:lnTo>
                  <a:lnTo>
                    <a:pt x="681" y="1707"/>
                  </a:lnTo>
                  <a:lnTo>
                    <a:pt x="681" y="1441"/>
                  </a:lnTo>
                  <a:lnTo>
                    <a:pt x="681" y="1424"/>
                  </a:lnTo>
                  <a:lnTo>
                    <a:pt x="683" y="1408"/>
                  </a:lnTo>
                  <a:lnTo>
                    <a:pt x="684" y="1401"/>
                  </a:lnTo>
                  <a:lnTo>
                    <a:pt x="686" y="1394"/>
                  </a:lnTo>
                  <a:lnTo>
                    <a:pt x="687" y="1387"/>
                  </a:lnTo>
                  <a:lnTo>
                    <a:pt x="689" y="1381"/>
                  </a:lnTo>
                  <a:lnTo>
                    <a:pt x="693" y="1368"/>
                  </a:lnTo>
                  <a:lnTo>
                    <a:pt x="698" y="1358"/>
                  </a:lnTo>
                  <a:lnTo>
                    <a:pt x="701" y="1354"/>
                  </a:lnTo>
                  <a:lnTo>
                    <a:pt x="703" y="1349"/>
                  </a:lnTo>
                  <a:lnTo>
                    <a:pt x="707" y="1345"/>
                  </a:lnTo>
                  <a:lnTo>
                    <a:pt x="710" y="1341"/>
                  </a:lnTo>
                  <a:lnTo>
                    <a:pt x="718" y="1334"/>
                  </a:lnTo>
                  <a:lnTo>
                    <a:pt x="726" y="1327"/>
                  </a:lnTo>
                  <a:lnTo>
                    <a:pt x="733" y="1323"/>
                  </a:lnTo>
                  <a:lnTo>
                    <a:pt x="742" y="1318"/>
                  </a:lnTo>
                  <a:lnTo>
                    <a:pt x="752" y="1315"/>
                  </a:lnTo>
                  <a:lnTo>
                    <a:pt x="762" y="1314"/>
                  </a:lnTo>
                  <a:lnTo>
                    <a:pt x="772" y="1312"/>
                  </a:lnTo>
                  <a:lnTo>
                    <a:pt x="783" y="1312"/>
                  </a:lnTo>
                  <a:lnTo>
                    <a:pt x="794" y="1312"/>
                  </a:lnTo>
                  <a:lnTo>
                    <a:pt x="806" y="1314"/>
                  </a:lnTo>
                  <a:lnTo>
                    <a:pt x="816" y="1315"/>
                  </a:lnTo>
                  <a:lnTo>
                    <a:pt x="824" y="1318"/>
                  </a:lnTo>
                  <a:lnTo>
                    <a:pt x="833" y="1323"/>
                  </a:lnTo>
                  <a:lnTo>
                    <a:pt x="841" y="1327"/>
                  </a:lnTo>
                  <a:lnTo>
                    <a:pt x="849" y="1333"/>
                  </a:lnTo>
                  <a:lnTo>
                    <a:pt x="852" y="1336"/>
                  </a:lnTo>
                  <a:lnTo>
                    <a:pt x="856" y="1339"/>
                  </a:lnTo>
                  <a:lnTo>
                    <a:pt x="861" y="1347"/>
                  </a:lnTo>
                  <a:lnTo>
                    <a:pt x="865" y="1355"/>
                  </a:lnTo>
                  <a:lnTo>
                    <a:pt x="868" y="1361"/>
                  </a:lnTo>
                  <a:lnTo>
                    <a:pt x="870" y="1365"/>
                  </a:lnTo>
                  <a:lnTo>
                    <a:pt x="872" y="1369"/>
                  </a:lnTo>
                  <a:lnTo>
                    <a:pt x="873" y="1375"/>
                  </a:lnTo>
                  <a:lnTo>
                    <a:pt x="877" y="1386"/>
                  </a:lnTo>
                  <a:lnTo>
                    <a:pt x="878" y="1399"/>
                  </a:lnTo>
                  <a:lnTo>
                    <a:pt x="879" y="1413"/>
                  </a:lnTo>
                  <a:lnTo>
                    <a:pt x="880" y="1426"/>
                  </a:lnTo>
                  <a:lnTo>
                    <a:pt x="880" y="1707"/>
                  </a:lnTo>
                  <a:lnTo>
                    <a:pt x="1053" y="1707"/>
                  </a:lnTo>
                  <a:lnTo>
                    <a:pt x="1053" y="1378"/>
                  </a:lnTo>
                  <a:lnTo>
                    <a:pt x="1053" y="1364"/>
                  </a:lnTo>
                  <a:lnTo>
                    <a:pt x="1052" y="1351"/>
                  </a:lnTo>
                  <a:lnTo>
                    <a:pt x="1051" y="1338"/>
                  </a:lnTo>
                  <a:lnTo>
                    <a:pt x="1050" y="1325"/>
                  </a:lnTo>
                  <a:lnTo>
                    <a:pt x="1048" y="1314"/>
                  </a:lnTo>
                  <a:lnTo>
                    <a:pt x="1044" y="1302"/>
                  </a:lnTo>
                  <a:lnTo>
                    <a:pt x="1042" y="1291"/>
                  </a:lnTo>
                  <a:lnTo>
                    <a:pt x="1039" y="1281"/>
                  </a:lnTo>
                  <a:lnTo>
                    <a:pt x="1034" y="1269"/>
                  </a:lnTo>
                  <a:lnTo>
                    <a:pt x="1031" y="1261"/>
                  </a:lnTo>
                  <a:lnTo>
                    <a:pt x="1025" y="1251"/>
                  </a:lnTo>
                  <a:lnTo>
                    <a:pt x="1021" y="1243"/>
                  </a:lnTo>
                  <a:lnTo>
                    <a:pt x="1015" y="1234"/>
                  </a:lnTo>
                  <a:lnTo>
                    <a:pt x="1010" y="1226"/>
                  </a:lnTo>
                  <a:lnTo>
                    <a:pt x="1003" y="1218"/>
                  </a:lnTo>
                  <a:lnTo>
                    <a:pt x="998" y="1212"/>
                  </a:lnTo>
                  <a:lnTo>
                    <a:pt x="990" y="1205"/>
                  </a:lnTo>
                  <a:lnTo>
                    <a:pt x="983" y="1199"/>
                  </a:lnTo>
                  <a:lnTo>
                    <a:pt x="975" y="1194"/>
                  </a:lnTo>
                  <a:lnTo>
                    <a:pt x="968" y="1188"/>
                  </a:lnTo>
                  <a:lnTo>
                    <a:pt x="960" y="1184"/>
                  </a:lnTo>
                  <a:lnTo>
                    <a:pt x="952" y="1179"/>
                  </a:lnTo>
                  <a:lnTo>
                    <a:pt x="943" y="1175"/>
                  </a:lnTo>
                  <a:lnTo>
                    <a:pt x="934" y="1172"/>
                  </a:lnTo>
                  <a:lnTo>
                    <a:pt x="924" y="1168"/>
                  </a:lnTo>
                  <a:lnTo>
                    <a:pt x="915" y="1166"/>
                  </a:lnTo>
                  <a:lnTo>
                    <a:pt x="905" y="1164"/>
                  </a:lnTo>
                  <a:lnTo>
                    <a:pt x="895" y="1162"/>
                  </a:lnTo>
                  <a:lnTo>
                    <a:pt x="885" y="1161"/>
                  </a:lnTo>
                  <a:lnTo>
                    <a:pt x="874" y="1160"/>
                  </a:lnTo>
                  <a:lnTo>
                    <a:pt x="864" y="1160"/>
                  </a:lnTo>
                  <a:lnTo>
                    <a:pt x="853" y="1158"/>
                  </a:lnTo>
                  <a:lnTo>
                    <a:pt x="839" y="1160"/>
                  </a:lnTo>
                  <a:lnTo>
                    <a:pt x="826" y="1161"/>
                  </a:lnTo>
                  <a:lnTo>
                    <a:pt x="812" y="1162"/>
                  </a:lnTo>
                  <a:lnTo>
                    <a:pt x="800" y="1165"/>
                  </a:lnTo>
                  <a:lnTo>
                    <a:pt x="788" y="1167"/>
                  </a:lnTo>
                  <a:lnTo>
                    <a:pt x="776" y="1172"/>
                  </a:lnTo>
                  <a:lnTo>
                    <a:pt x="764" y="1176"/>
                  </a:lnTo>
                  <a:lnTo>
                    <a:pt x="753" y="1182"/>
                  </a:lnTo>
                  <a:lnTo>
                    <a:pt x="743" y="1187"/>
                  </a:lnTo>
                  <a:lnTo>
                    <a:pt x="733" y="1194"/>
                  </a:lnTo>
                  <a:lnTo>
                    <a:pt x="723" y="1201"/>
                  </a:lnTo>
                  <a:lnTo>
                    <a:pt x="714" y="1208"/>
                  </a:lnTo>
                  <a:lnTo>
                    <a:pt x="706" y="1217"/>
                  </a:lnTo>
                  <a:lnTo>
                    <a:pt x="702" y="1222"/>
                  </a:lnTo>
                  <a:lnTo>
                    <a:pt x="698" y="1226"/>
                  </a:lnTo>
                  <a:lnTo>
                    <a:pt x="690" y="1236"/>
                  </a:lnTo>
                  <a:lnTo>
                    <a:pt x="683" y="1246"/>
                  </a:lnTo>
                  <a:lnTo>
                    <a:pt x="681" y="1246"/>
                  </a:lnTo>
                  <a:lnTo>
                    <a:pt x="681" y="903"/>
                  </a:lnTo>
                  <a:close/>
                  <a:moveTo>
                    <a:pt x="1341" y="1724"/>
                  </a:moveTo>
                  <a:lnTo>
                    <a:pt x="1356" y="1724"/>
                  </a:lnTo>
                  <a:lnTo>
                    <a:pt x="1372" y="1723"/>
                  </a:lnTo>
                  <a:lnTo>
                    <a:pt x="1386" y="1720"/>
                  </a:lnTo>
                  <a:lnTo>
                    <a:pt x="1400" y="1718"/>
                  </a:lnTo>
                  <a:lnTo>
                    <a:pt x="1412" y="1714"/>
                  </a:lnTo>
                  <a:lnTo>
                    <a:pt x="1424" y="1710"/>
                  </a:lnTo>
                  <a:lnTo>
                    <a:pt x="1436" y="1705"/>
                  </a:lnTo>
                  <a:lnTo>
                    <a:pt x="1448" y="1699"/>
                  </a:lnTo>
                  <a:lnTo>
                    <a:pt x="1458" y="1694"/>
                  </a:lnTo>
                  <a:lnTo>
                    <a:pt x="1468" y="1687"/>
                  </a:lnTo>
                  <a:lnTo>
                    <a:pt x="1476" y="1679"/>
                  </a:lnTo>
                  <a:lnTo>
                    <a:pt x="1485" y="1672"/>
                  </a:lnTo>
                  <a:lnTo>
                    <a:pt x="1493" y="1663"/>
                  </a:lnTo>
                  <a:lnTo>
                    <a:pt x="1501" y="1654"/>
                  </a:lnTo>
                  <a:lnTo>
                    <a:pt x="1508" y="1645"/>
                  </a:lnTo>
                  <a:lnTo>
                    <a:pt x="1514" y="1635"/>
                  </a:lnTo>
                  <a:lnTo>
                    <a:pt x="1516" y="1635"/>
                  </a:lnTo>
                  <a:lnTo>
                    <a:pt x="1516" y="1707"/>
                  </a:lnTo>
                  <a:lnTo>
                    <a:pt x="1690" y="1707"/>
                  </a:lnTo>
                  <a:lnTo>
                    <a:pt x="1690" y="1176"/>
                  </a:lnTo>
                  <a:lnTo>
                    <a:pt x="1516" y="1176"/>
                  </a:lnTo>
                  <a:lnTo>
                    <a:pt x="1516" y="1248"/>
                  </a:lnTo>
                  <a:lnTo>
                    <a:pt x="1514" y="1248"/>
                  </a:lnTo>
                  <a:lnTo>
                    <a:pt x="1508" y="1238"/>
                  </a:lnTo>
                  <a:lnTo>
                    <a:pt x="1501" y="1229"/>
                  </a:lnTo>
                  <a:lnTo>
                    <a:pt x="1493" y="1221"/>
                  </a:lnTo>
                  <a:lnTo>
                    <a:pt x="1485" y="1212"/>
                  </a:lnTo>
                  <a:lnTo>
                    <a:pt x="1476" y="1204"/>
                  </a:lnTo>
                  <a:lnTo>
                    <a:pt x="1468" y="1196"/>
                  </a:lnTo>
                  <a:lnTo>
                    <a:pt x="1463" y="1193"/>
                  </a:lnTo>
                  <a:lnTo>
                    <a:pt x="1458" y="1189"/>
                  </a:lnTo>
                  <a:lnTo>
                    <a:pt x="1448" y="1184"/>
                  </a:lnTo>
                  <a:lnTo>
                    <a:pt x="1436" y="1178"/>
                  </a:lnTo>
                  <a:lnTo>
                    <a:pt x="1424" y="1173"/>
                  </a:lnTo>
                  <a:lnTo>
                    <a:pt x="1412" y="1168"/>
                  </a:lnTo>
                  <a:lnTo>
                    <a:pt x="1400" y="1165"/>
                  </a:lnTo>
                  <a:lnTo>
                    <a:pt x="1386" y="1163"/>
                  </a:lnTo>
                  <a:lnTo>
                    <a:pt x="1372" y="1161"/>
                  </a:lnTo>
                  <a:lnTo>
                    <a:pt x="1356" y="1160"/>
                  </a:lnTo>
                  <a:lnTo>
                    <a:pt x="1341" y="1158"/>
                  </a:lnTo>
                  <a:lnTo>
                    <a:pt x="1328" y="1160"/>
                  </a:lnTo>
                  <a:lnTo>
                    <a:pt x="1315" y="1160"/>
                  </a:lnTo>
                  <a:lnTo>
                    <a:pt x="1303" y="1162"/>
                  </a:lnTo>
                  <a:lnTo>
                    <a:pt x="1291" y="1164"/>
                  </a:lnTo>
                  <a:lnTo>
                    <a:pt x="1279" y="1166"/>
                  </a:lnTo>
                  <a:lnTo>
                    <a:pt x="1266" y="1169"/>
                  </a:lnTo>
                  <a:lnTo>
                    <a:pt x="1254" y="1173"/>
                  </a:lnTo>
                  <a:lnTo>
                    <a:pt x="1243" y="1177"/>
                  </a:lnTo>
                  <a:lnTo>
                    <a:pt x="1232" y="1182"/>
                  </a:lnTo>
                  <a:lnTo>
                    <a:pt x="1221" y="1187"/>
                  </a:lnTo>
                  <a:lnTo>
                    <a:pt x="1211" y="1193"/>
                  </a:lnTo>
                  <a:lnTo>
                    <a:pt x="1201" y="1199"/>
                  </a:lnTo>
                  <a:lnTo>
                    <a:pt x="1191" y="1206"/>
                  </a:lnTo>
                  <a:lnTo>
                    <a:pt x="1181" y="1214"/>
                  </a:lnTo>
                  <a:lnTo>
                    <a:pt x="1172" y="1222"/>
                  </a:lnTo>
                  <a:lnTo>
                    <a:pt x="1163" y="1231"/>
                  </a:lnTo>
                  <a:lnTo>
                    <a:pt x="1155" y="1239"/>
                  </a:lnTo>
                  <a:lnTo>
                    <a:pt x="1147" y="1249"/>
                  </a:lnTo>
                  <a:lnTo>
                    <a:pt x="1140" y="1259"/>
                  </a:lnTo>
                  <a:lnTo>
                    <a:pt x="1132" y="1271"/>
                  </a:lnTo>
                  <a:lnTo>
                    <a:pt x="1125" y="1282"/>
                  </a:lnTo>
                  <a:lnTo>
                    <a:pt x="1120" y="1294"/>
                  </a:lnTo>
                  <a:lnTo>
                    <a:pt x="1114" y="1306"/>
                  </a:lnTo>
                  <a:lnTo>
                    <a:pt x="1109" y="1318"/>
                  </a:lnTo>
                  <a:lnTo>
                    <a:pt x="1104" y="1333"/>
                  </a:lnTo>
                  <a:lnTo>
                    <a:pt x="1101" y="1346"/>
                  </a:lnTo>
                  <a:lnTo>
                    <a:pt x="1098" y="1361"/>
                  </a:lnTo>
                  <a:lnTo>
                    <a:pt x="1094" y="1376"/>
                  </a:lnTo>
                  <a:lnTo>
                    <a:pt x="1092" y="1392"/>
                  </a:lnTo>
                  <a:lnTo>
                    <a:pt x="1091" y="1407"/>
                  </a:lnTo>
                  <a:lnTo>
                    <a:pt x="1090" y="1424"/>
                  </a:lnTo>
                  <a:lnTo>
                    <a:pt x="1089" y="1442"/>
                  </a:lnTo>
                  <a:lnTo>
                    <a:pt x="1090" y="1458"/>
                  </a:lnTo>
                  <a:lnTo>
                    <a:pt x="1091" y="1475"/>
                  </a:lnTo>
                  <a:lnTo>
                    <a:pt x="1092" y="1492"/>
                  </a:lnTo>
                  <a:lnTo>
                    <a:pt x="1094" y="1507"/>
                  </a:lnTo>
                  <a:lnTo>
                    <a:pt x="1098" y="1523"/>
                  </a:lnTo>
                  <a:lnTo>
                    <a:pt x="1101" y="1537"/>
                  </a:lnTo>
                  <a:lnTo>
                    <a:pt x="1104" y="1550"/>
                  </a:lnTo>
                  <a:lnTo>
                    <a:pt x="1109" y="1564"/>
                  </a:lnTo>
                  <a:lnTo>
                    <a:pt x="1114" y="1577"/>
                  </a:lnTo>
                  <a:lnTo>
                    <a:pt x="1120" y="1589"/>
                  </a:lnTo>
                  <a:lnTo>
                    <a:pt x="1125" y="1602"/>
                  </a:lnTo>
                  <a:lnTo>
                    <a:pt x="1132" y="1613"/>
                  </a:lnTo>
                  <a:lnTo>
                    <a:pt x="1140" y="1624"/>
                  </a:lnTo>
                  <a:lnTo>
                    <a:pt x="1147" y="1634"/>
                  </a:lnTo>
                  <a:lnTo>
                    <a:pt x="1155" y="1644"/>
                  </a:lnTo>
                  <a:lnTo>
                    <a:pt x="1163" y="1653"/>
                  </a:lnTo>
                  <a:lnTo>
                    <a:pt x="1172" y="1662"/>
                  </a:lnTo>
                  <a:lnTo>
                    <a:pt x="1181" y="1669"/>
                  </a:lnTo>
                  <a:lnTo>
                    <a:pt x="1191" y="1677"/>
                  </a:lnTo>
                  <a:lnTo>
                    <a:pt x="1201" y="1684"/>
                  </a:lnTo>
                  <a:lnTo>
                    <a:pt x="1211" y="1690"/>
                  </a:lnTo>
                  <a:lnTo>
                    <a:pt x="1221" y="1696"/>
                  </a:lnTo>
                  <a:lnTo>
                    <a:pt x="1232" y="1702"/>
                  </a:lnTo>
                  <a:lnTo>
                    <a:pt x="1243" y="1706"/>
                  </a:lnTo>
                  <a:lnTo>
                    <a:pt x="1254" y="1710"/>
                  </a:lnTo>
                  <a:lnTo>
                    <a:pt x="1266" y="1714"/>
                  </a:lnTo>
                  <a:lnTo>
                    <a:pt x="1279" y="1717"/>
                  </a:lnTo>
                  <a:lnTo>
                    <a:pt x="1291" y="1719"/>
                  </a:lnTo>
                  <a:lnTo>
                    <a:pt x="1303" y="1722"/>
                  </a:lnTo>
                  <a:lnTo>
                    <a:pt x="1315" y="1723"/>
                  </a:lnTo>
                  <a:lnTo>
                    <a:pt x="1328" y="1724"/>
                  </a:lnTo>
                  <a:lnTo>
                    <a:pt x="1341" y="1724"/>
                  </a:lnTo>
                  <a:close/>
                  <a:moveTo>
                    <a:pt x="1389" y="1566"/>
                  </a:moveTo>
                  <a:lnTo>
                    <a:pt x="1376" y="1565"/>
                  </a:lnTo>
                  <a:lnTo>
                    <a:pt x="1370" y="1565"/>
                  </a:lnTo>
                  <a:lnTo>
                    <a:pt x="1364" y="1564"/>
                  </a:lnTo>
                  <a:lnTo>
                    <a:pt x="1352" y="1560"/>
                  </a:lnTo>
                  <a:lnTo>
                    <a:pt x="1346" y="1559"/>
                  </a:lnTo>
                  <a:lnTo>
                    <a:pt x="1341" y="1557"/>
                  </a:lnTo>
                  <a:lnTo>
                    <a:pt x="1330" y="1552"/>
                  </a:lnTo>
                  <a:lnTo>
                    <a:pt x="1325" y="1549"/>
                  </a:lnTo>
                  <a:lnTo>
                    <a:pt x="1320" y="1546"/>
                  </a:lnTo>
                  <a:lnTo>
                    <a:pt x="1315" y="1543"/>
                  </a:lnTo>
                  <a:lnTo>
                    <a:pt x="1311" y="1539"/>
                  </a:lnTo>
                  <a:lnTo>
                    <a:pt x="1302" y="1532"/>
                  </a:lnTo>
                  <a:lnTo>
                    <a:pt x="1294" y="1524"/>
                  </a:lnTo>
                  <a:lnTo>
                    <a:pt x="1288" y="1514"/>
                  </a:lnTo>
                  <a:lnTo>
                    <a:pt x="1282" y="1504"/>
                  </a:lnTo>
                  <a:lnTo>
                    <a:pt x="1279" y="1498"/>
                  </a:lnTo>
                  <a:lnTo>
                    <a:pt x="1276" y="1493"/>
                  </a:lnTo>
                  <a:lnTo>
                    <a:pt x="1272" y="1482"/>
                  </a:lnTo>
                  <a:lnTo>
                    <a:pt x="1270" y="1468"/>
                  </a:lnTo>
                  <a:lnTo>
                    <a:pt x="1269" y="1462"/>
                  </a:lnTo>
                  <a:lnTo>
                    <a:pt x="1268" y="1455"/>
                  </a:lnTo>
                  <a:lnTo>
                    <a:pt x="1268" y="1442"/>
                  </a:lnTo>
                  <a:lnTo>
                    <a:pt x="1268" y="1427"/>
                  </a:lnTo>
                  <a:lnTo>
                    <a:pt x="1270" y="1415"/>
                  </a:lnTo>
                  <a:lnTo>
                    <a:pt x="1271" y="1408"/>
                  </a:lnTo>
                  <a:lnTo>
                    <a:pt x="1272" y="1402"/>
                  </a:lnTo>
                  <a:lnTo>
                    <a:pt x="1276" y="1391"/>
                  </a:lnTo>
                  <a:lnTo>
                    <a:pt x="1279" y="1385"/>
                  </a:lnTo>
                  <a:lnTo>
                    <a:pt x="1282" y="1379"/>
                  </a:lnTo>
                  <a:lnTo>
                    <a:pt x="1288" y="1369"/>
                  </a:lnTo>
                  <a:lnTo>
                    <a:pt x="1294" y="1359"/>
                  </a:lnTo>
                  <a:lnTo>
                    <a:pt x="1302" y="1351"/>
                  </a:lnTo>
                  <a:lnTo>
                    <a:pt x="1306" y="1347"/>
                  </a:lnTo>
                  <a:lnTo>
                    <a:pt x="1311" y="1344"/>
                  </a:lnTo>
                  <a:lnTo>
                    <a:pt x="1315" y="1341"/>
                  </a:lnTo>
                  <a:lnTo>
                    <a:pt x="1320" y="1337"/>
                  </a:lnTo>
                  <a:lnTo>
                    <a:pt x="1330" y="1331"/>
                  </a:lnTo>
                  <a:lnTo>
                    <a:pt x="1341" y="1326"/>
                  </a:lnTo>
                  <a:lnTo>
                    <a:pt x="1352" y="1323"/>
                  </a:lnTo>
                  <a:lnTo>
                    <a:pt x="1364" y="1319"/>
                  </a:lnTo>
                  <a:lnTo>
                    <a:pt x="1370" y="1318"/>
                  </a:lnTo>
                  <a:lnTo>
                    <a:pt x="1376" y="1318"/>
                  </a:lnTo>
                  <a:lnTo>
                    <a:pt x="1389" y="1317"/>
                  </a:lnTo>
                  <a:lnTo>
                    <a:pt x="1402" y="1318"/>
                  </a:lnTo>
                  <a:lnTo>
                    <a:pt x="1414" y="1319"/>
                  </a:lnTo>
                  <a:lnTo>
                    <a:pt x="1426" y="1323"/>
                  </a:lnTo>
                  <a:lnTo>
                    <a:pt x="1432" y="1324"/>
                  </a:lnTo>
                  <a:lnTo>
                    <a:pt x="1438" y="1326"/>
                  </a:lnTo>
                  <a:lnTo>
                    <a:pt x="1449" y="1331"/>
                  </a:lnTo>
                  <a:lnTo>
                    <a:pt x="1454" y="1334"/>
                  </a:lnTo>
                  <a:lnTo>
                    <a:pt x="1459" y="1337"/>
                  </a:lnTo>
                  <a:lnTo>
                    <a:pt x="1463" y="1341"/>
                  </a:lnTo>
                  <a:lnTo>
                    <a:pt x="1469" y="1344"/>
                  </a:lnTo>
                  <a:lnTo>
                    <a:pt x="1476" y="1351"/>
                  </a:lnTo>
                  <a:lnTo>
                    <a:pt x="1484" y="1359"/>
                  </a:lnTo>
                  <a:lnTo>
                    <a:pt x="1492" y="1369"/>
                  </a:lnTo>
                  <a:lnTo>
                    <a:pt x="1498" y="1379"/>
                  </a:lnTo>
                  <a:lnTo>
                    <a:pt x="1500" y="1385"/>
                  </a:lnTo>
                  <a:lnTo>
                    <a:pt x="1503" y="1391"/>
                  </a:lnTo>
                  <a:lnTo>
                    <a:pt x="1506" y="1402"/>
                  </a:lnTo>
                  <a:lnTo>
                    <a:pt x="1510" y="1415"/>
                  </a:lnTo>
                  <a:lnTo>
                    <a:pt x="1511" y="1421"/>
                  </a:lnTo>
                  <a:lnTo>
                    <a:pt x="1511" y="1427"/>
                  </a:lnTo>
                  <a:lnTo>
                    <a:pt x="1512" y="1442"/>
                  </a:lnTo>
                  <a:lnTo>
                    <a:pt x="1511" y="1455"/>
                  </a:lnTo>
                  <a:lnTo>
                    <a:pt x="1510" y="1468"/>
                  </a:lnTo>
                  <a:lnTo>
                    <a:pt x="1509" y="1475"/>
                  </a:lnTo>
                  <a:lnTo>
                    <a:pt x="1506" y="1482"/>
                  </a:lnTo>
                  <a:lnTo>
                    <a:pt x="1503" y="1493"/>
                  </a:lnTo>
                  <a:lnTo>
                    <a:pt x="1500" y="1498"/>
                  </a:lnTo>
                  <a:lnTo>
                    <a:pt x="1498" y="1504"/>
                  </a:lnTo>
                  <a:lnTo>
                    <a:pt x="1492" y="1514"/>
                  </a:lnTo>
                  <a:lnTo>
                    <a:pt x="1484" y="1524"/>
                  </a:lnTo>
                  <a:lnTo>
                    <a:pt x="1476" y="1532"/>
                  </a:lnTo>
                  <a:lnTo>
                    <a:pt x="1473" y="1536"/>
                  </a:lnTo>
                  <a:lnTo>
                    <a:pt x="1469" y="1539"/>
                  </a:lnTo>
                  <a:lnTo>
                    <a:pt x="1463" y="1543"/>
                  </a:lnTo>
                  <a:lnTo>
                    <a:pt x="1459" y="1546"/>
                  </a:lnTo>
                  <a:lnTo>
                    <a:pt x="1449" y="1552"/>
                  </a:lnTo>
                  <a:lnTo>
                    <a:pt x="1438" y="1557"/>
                  </a:lnTo>
                  <a:lnTo>
                    <a:pt x="1426" y="1560"/>
                  </a:lnTo>
                  <a:lnTo>
                    <a:pt x="1414" y="1564"/>
                  </a:lnTo>
                  <a:lnTo>
                    <a:pt x="1402" y="1565"/>
                  </a:lnTo>
                  <a:lnTo>
                    <a:pt x="1389" y="1566"/>
                  </a:lnTo>
                  <a:close/>
                  <a:moveTo>
                    <a:pt x="2100" y="1158"/>
                  </a:moveTo>
                  <a:lnTo>
                    <a:pt x="2086" y="1160"/>
                  </a:lnTo>
                  <a:lnTo>
                    <a:pt x="2072" y="1161"/>
                  </a:lnTo>
                  <a:lnTo>
                    <a:pt x="2058" y="1163"/>
                  </a:lnTo>
                  <a:lnTo>
                    <a:pt x="2046" y="1165"/>
                  </a:lnTo>
                  <a:lnTo>
                    <a:pt x="2034" y="1169"/>
                  </a:lnTo>
                  <a:lnTo>
                    <a:pt x="2022" y="1174"/>
                  </a:lnTo>
                  <a:lnTo>
                    <a:pt x="2010" y="1178"/>
                  </a:lnTo>
                  <a:lnTo>
                    <a:pt x="1998" y="1184"/>
                  </a:lnTo>
                  <a:lnTo>
                    <a:pt x="1987" y="1191"/>
                  </a:lnTo>
                  <a:lnTo>
                    <a:pt x="1977" y="1198"/>
                  </a:lnTo>
                  <a:lnTo>
                    <a:pt x="1967" y="1206"/>
                  </a:lnTo>
                  <a:lnTo>
                    <a:pt x="1959" y="1215"/>
                  </a:lnTo>
                  <a:lnTo>
                    <a:pt x="1950" y="1225"/>
                  </a:lnTo>
                  <a:lnTo>
                    <a:pt x="1941" y="1235"/>
                  </a:lnTo>
                  <a:lnTo>
                    <a:pt x="1933" y="1245"/>
                  </a:lnTo>
                  <a:lnTo>
                    <a:pt x="1926" y="1256"/>
                  </a:lnTo>
                  <a:lnTo>
                    <a:pt x="1924" y="1256"/>
                  </a:lnTo>
                  <a:lnTo>
                    <a:pt x="1924" y="1176"/>
                  </a:lnTo>
                  <a:lnTo>
                    <a:pt x="1754" y="1176"/>
                  </a:lnTo>
                  <a:lnTo>
                    <a:pt x="1754" y="1707"/>
                  </a:lnTo>
                  <a:lnTo>
                    <a:pt x="1927" y="1707"/>
                  </a:lnTo>
                  <a:lnTo>
                    <a:pt x="1927" y="1441"/>
                  </a:lnTo>
                  <a:lnTo>
                    <a:pt x="1927" y="1424"/>
                  </a:lnTo>
                  <a:lnTo>
                    <a:pt x="1930" y="1408"/>
                  </a:lnTo>
                  <a:lnTo>
                    <a:pt x="1931" y="1401"/>
                  </a:lnTo>
                  <a:lnTo>
                    <a:pt x="1932" y="1394"/>
                  </a:lnTo>
                  <a:lnTo>
                    <a:pt x="1933" y="1387"/>
                  </a:lnTo>
                  <a:lnTo>
                    <a:pt x="1935" y="1381"/>
                  </a:lnTo>
                  <a:lnTo>
                    <a:pt x="1940" y="1368"/>
                  </a:lnTo>
                  <a:lnTo>
                    <a:pt x="1944" y="1358"/>
                  </a:lnTo>
                  <a:lnTo>
                    <a:pt x="1947" y="1354"/>
                  </a:lnTo>
                  <a:lnTo>
                    <a:pt x="1950" y="1349"/>
                  </a:lnTo>
                  <a:lnTo>
                    <a:pt x="1953" y="1345"/>
                  </a:lnTo>
                  <a:lnTo>
                    <a:pt x="1956" y="1341"/>
                  </a:lnTo>
                  <a:lnTo>
                    <a:pt x="1964" y="1334"/>
                  </a:lnTo>
                  <a:lnTo>
                    <a:pt x="1972" y="1327"/>
                  </a:lnTo>
                  <a:lnTo>
                    <a:pt x="1980" y="1323"/>
                  </a:lnTo>
                  <a:lnTo>
                    <a:pt x="1989" y="1318"/>
                  </a:lnTo>
                  <a:lnTo>
                    <a:pt x="1998" y="1315"/>
                  </a:lnTo>
                  <a:lnTo>
                    <a:pt x="2008" y="1314"/>
                  </a:lnTo>
                  <a:lnTo>
                    <a:pt x="2018" y="1312"/>
                  </a:lnTo>
                  <a:lnTo>
                    <a:pt x="2030" y="1312"/>
                  </a:lnTo>
                  <a:lnTo>
                    <a:pt x="2041" y="1312"/>
                  </a:lnTo>
                  <a:lnTo>
                    <a:pt x="2052" y="1314"/>
                  </a:lnTo>
                  <a:lnTo>
                    <a:pt x="2063" y="1315"/>
                  </a:lnTo>
                  <a:lnTo>
                    <a:pt x="2072" y="1318"/>
                  </a:lnTo>
                  <a:lnTo>
                    <a:pt x="2081" y="1323"/>
                  </a:lnTo>
                  <a:lnTo>
                    <a:pt x="2088" y="1327"/>
                  </a:lnTo>
                  <a:lnTo>
                    <a:pt x="2096" y="1333"/>
                  </a:lnTo>
                  <a:lnTo>
                    <a:pt x="2100" y="1336"/>
                  </a:lnTo>
                  <a:lnTo>
                    <a:pt x="2103" y="1339"/>
                  </a:lnTo>
                  <a:lnTo>
                    <a:pt x="2108" y="1347"/>
                  </a:lnTo>
                  <a:lnTo>
                    <a:pt x="2113" y="1355"/>
                  </a:lnTo>
                  <a:lnTo>
                    <a:pt x="2115" y="1361"/>
                  </a:lnTo>
                  <a:lnTo>
                    <a:pt x="2117" y="1365"/>
                  </a:lnTo>
                  <a:lnTo>
                    <a:pt x="2121" y="1375"/>
                  </a:lnTo>
                  <a:lnTo>
                    <a:pt x="2124" y="1386"/>
                  </a:lnTo>
                  <a:lnTo>
                    <a:pt x="2125" y="1399"/>
                  </a:lnTo>
                  <a:lnTo>
                    <a:pt x="2127" y="1413"/>
                  </a:lnTo>
                  <a:lnTo>
                    <a:pt x="2127" y="1426"/>
                  </a:lnTo>
                  <a:lnTo>
                    <a:pt x="2127" y="1707"/>
                  </a:lnTo>
                  <a:lnTo>
                    <a:pt x="2300" y="1707"/>
                  </a:lnTo>
                  <a:lnTo>
                    <a:pt x="2300" y="1378"/>
                  </a:lnTo>
                  <a:lnTo>
                    <a:pt x="2300" y="1364"/>
                  </a:lnTo>
                  <a:lnTo>
                    <a:pt x="2298" y="1351"/>
                  </a:lnTo>
                  <a:lnTo>
                    <a:pt x="2297" y="1338"/>
                  </a:lnTo>
                  <a:lnTo>
                    <a:pt x="2296" y="1325"/>
                  </a:lnTo>
                  <a:lnTo>
                    <a:pt x="2294" y="1314"/>
                  </a:lnTo>
                  <a:lnTo>
                    <a:pt x="2291" y="1302"/>
                  </a:lnTo>
                  <a:lnTo>
                    <a:pt x="2288" y="1291"/>
                  </a:lnTo>
                  <a:lnTo>
                    <a:pt x="2285" y="1281"/>
                  </a:lnTo>
                  <a:lnTo>
                    <a:pt x="2281" y="1269"/>
                  </a:lnTo>
                  <a:lnTo>
                    <a:pt x="2277" y="1261"/>
                  </a:lnTo>
                  <a:lnTo>
                    <a:pt x="2272" y="1251"/>
                  </a:lnTo>
                  <a:lnTo>
                    <a:pt x="2267" y="1243"/>
                  </a:lnTo>
                  <a:lnTo>
                    <a:pt x="2262" y="1234"/>
                  </a:lnTo>
                  <a:lnTo>
                    <a:pt x="2256" y="1226"/>
                  </a:lnTo>
                  <a:lnTo>
                    <a:pt x="2250" y="1218"/>
                  </a:lnTo>
                  <a:lnTo>
                    <a:pt x="2244" y="1212"/>
                  </a:lnTo>
                  <a:lnTo>
                    <a:pt x="2236" y="1205"/>
                  </a:lnTo>
                  <a:lnTo>
                    <a:pt x="2230" y="1199"/>
                  </a:lnTo>
                  <a:lnTo>
                    <a:pt x="2222" y="1194"/>
                  </a:lnTo>
                  <a:lnTo>
                    <a:pt x="2214" y="1188"/>
                  </a:lnTo>
                  <a:lnTo>
                    <a:pt x="2206" y="1184"/>
                  </a:lnTo>
                  <a:lnTo>
                    <a:pt x="2198" y="1179"/>
                  </a:lnTo>
                  <a:lnTo>
                    <a:pt x="2190" y="1175"/>
                  </a:lnTo>
                  <a:lnTo>
                    <a:pt x="2181" y="1172"/>
                  </a:lnTo>
                  <a:lnTo>
                    <a:pt x="2171" y="1168"/>
                  </a:lnTo>
                  <a:lnTo>
                    <a:pt x="2162" y="1166"/>
                  </a:lnTo>
                  <a:lnTo>
                    <a:pt x="2152" y="1164"/>
                  </a:lnTo>
                  <a:lnTo>
                    <a:pt x="2142" y="1162"/>
                  </a:lnTo>
                  <a:lnTo>
                    <a:pt x="2132" y="1161"/>
                  </a:lnTo>
                  <a:lnTo>
                    <a:pt x="2121" y="1160"/>
                  </a:lnTo>
                  <a:lnTo>
                    <a:pt x="2111" y="1160"/>
                  </a:lnTo>
                  <a:lnTo>
                    <a:pt x="2100" y="1158"/>
                  </a:lnTo>
                  <a:close/>
                  <a:moveTo>
                    <a:pt x="2651" y="1954"/>
                  </a:moveTo>
                  <a:lnTo>
                    <a:pt x="2668" y="1954"/>
                  </a:lnTo>
                  <a:lnTo>
                    <a:pt x="2685" y="1953"/>
                  </a:lnTo>
                  <a:lnTo>
                    <a:pt x="2701" y="1951"/>
                  </a:lnTo>
                  <a:lnTo>
                    <a:pt x="2716" y="1950"/>
                  </a:lnTo>
                  <a:lnTo>
                    <a:pt x="2731" y="1948"/>
                  </a:lnTo>
                  <a:lnTo>
                    <a:pt x="2745" y="1946"/>
                  </a:lnTo>
                  <a:lnTo>
                    <a:pt x="2759" y="1943"/>
                  </a:lnTo>
                  <a:lnTo>
                    <a:pt x="2773" y="1939"/>
                  </a:lnTo>
                  <a:lnTo>
                    <a:pt x="2779" y="1937"/>
                  </a:lnTo>
                  <a:lnTo>
                    <a:pt x="2786" y="1935"/>
                  </a:lnTo>
                  <a:lnTo>
                    <a:pt x="2798" y="1930"/>
                  </a:lnTo>
                  <a:lnTo>
                    <a:pt x="2810" y="1925"/>
                  </a:lnTo>
                  <a:lnTo>
                    <a:pt x="2822" y="1919"/>
                  </a:lnTo>
                  <a:lnTo>
                    <a:pt x="2833" y="1914"/>
                  </a:lnTo>
                  <a:lnTo>
                    <a:pt x="2844" y="1907"/>
                  </a:lnTo>
                  <a:lnTo>
                    <a:pt x="2853" y="1900"/>
                  </a:lnTo>
                  <a:lnTo>
                    <a:pt x="2863" y="1893"/>
                  </a:lnTo>
                  <a:lnTo>
                    <a:pt x="2872" y="1885"/>
                  </a:lnTo>
                  <a:lnTo>
                    <a:pt x="2879" y="1877"/>
                  </a:lnTo>
                  <a:lnTo>
                    <a:pt x="2887" y="1868"/>
                  </a:lnTo>
                  <a:lnTo>
                    <a:pt x="2895" y="1858"/>
                  </a:lnTo>
                  <a:lnTo>
                    <a:pt x="2902" y="1848"/>
                  </a:lnTo>
                  <a:lnTo>
                    <a:pt x="2907" y="1838"/>
                  </a:lnTo>
                  <a:lnTo>
                    <a:pt x="2913" y="1827"/>
                  </a:lnTo>
                  <a:lnTo>
                    <a:pt x="2918" y="1816"/>
                  </a:lnTo>
                  <a:lnTo>
                    <a:pt x="2923" y="1804"/>
                  </a:lnTo>
                  <a:lnTo>
                    <a:pt x="2926" y="1792"/>
                  </a:lnTo>
                  <a:lnTo>
                    <a:pt x="2929" y="1779"/>
                  </a:lnTo>
                  <a:lnTo>
                    <a:pt x="2932" y="1766"/>
                  </a:lnTo>
                  <a:lnTo>
                    <a:pt x="2934" y="1752"/>
                  </a:lnTo>
                  <a:lnTo>
                    <a:pt x="2936" y="1737"/>
                  </a:lnTo>
                  <a:lnTo>
                    <a:pt x="2937" y="1723"/>
                  </a:lnTo>
                  <a:lnTo>
                    <a:pt x="2937" y="1707"/>
                  </a:lnTo>
                  <a:lnTo>
                    <a:pt x="2937" y="1176"/>
                  </a:lnTo>
                  <a:lnTo>
                    <a:pt x="2764" y="1176"/>
                  </a:lnTo>
                  <a:lnTo>
                    <a:pt x="2764" y="1248"/>
                  </a:lnTo>
                  <a:lnTo>
                    <a:pt x="2762" y="1248"/>
                  </a:lnTo>
                  <a:lnTo>
                    <a:pt x="2755" y="1238"/>
                  </a:lnTo>
                  <a:lnTo>
                    <a:pt x="2748" y="1229"/>
                  </a:lnTo>
                  <a:lnTo>
                    <a:pt x="2741" y="1221"/>
                  </a:lnTo>
                  <a:lnTo>
                    <a:pt x="2733" y="1212"/>
                  </a:lnTo>
                  <a:lnTo>
                    <a:pt x="2724" y="1204"/>
                  </a:lnTo>
                  <a:lnTo>
                    <a:pt x="2715" y="1196"/>
                  </a:lnTo>
                  <a:lnTo>
                    <a:pt x="2709" y="1193"/>
                  </a:lnTo>
                  <a:lnTo>
                    <a:pt x="2705" y="1189"/>
                  </a:lnTo>
                  <a:lnTo>
                    <a:pt x="2694" y="1184"/>
                  </a:lnTo>
                  <a:lnTo>
                    <a:pt x="2684" y="1178"/>
                  </a:lnTo>
                  <a:lnTo>
                    <a:pt x="2672" y="1173"/>
                  </a:lnTo>
                  <a:lnTo>
                    <a:pt x="2659" y="1168"/>
                  </a:lnTo>
                  <a:lnTo>
                    <a:pt x="2646" y="1165"/>
                  </a:lnTo>
                  <a:lnTo>
                    <a:pt x="2633" y="1163"/>
                  </a:lnTo>
                  <a:lnTo>
                    <a:pt x="2618" y="1161"/>
                  </a:lnTo>
                  <a:lnTo>
                    <a:pt x="2604" y="1160"/>
                  </a:lnTo>
                  <a:lnTo>
                    <a:pt x="2587" y="1158"/>
                  </a:lnTo>
                  <a:lnTo>
                    <a:pt x="2575" y="1160"/>
                  </a:lnTo>
                  <a:lnTo>
                    <a:pt x="2562" y="1160"/>
                  </a:lnTo>
                  <a:lnTo>
                    <a:pt x="2537" y="1164"/>
                  </a:lnTo>
                  <a:lnTo>
                    <a:pt x="2525" y="1166"/>
                  </a:lnTo>
                  <a:lnTo>
                    <a:pt x="2513" y="1169"/>
                  </a:lnTo>
                  <a:lnTo>
                    <a:pt x="2502" y="1173"/>
                  </a:lnTo>
                  <a:lnTo>
                    <a:pt x="2491" y="1177"/>
                  </a:lnTo>
                  <a:lnTo>
                    <a:pt x="2479" y="1182"/>
                  </a:lnTo>
                  <a:lnTo>
                    <a:pt x="2468" y="1187"/>
                  </a:lnTo>
                  <a:lnTo>
                    <a:pt x="2457" y="1193"/>
                  </a:lnTo>
                  <a:lnTo>
                    <a:pt x="2447" y="1199"/>
                  </a:lnTo>
                  <a:lnTo>
                    <a:pt x="2437" y="1206"/>
                  </a:lnTo>
                  <a:lnTo>
                    <a:pt x="2428" y="1214"/>
                  </a:lnTo>
                  <a:lnTo>
                    <a:pt x="2419" y="1222"/>
                  </a:lnTo>
                  <a:lnTo>
                    <a:pt x="2411" y="1231"/>
                  </a:lnTo>
                  <a:lnTo>
                    <a:pt x="2402" y="1239"/>
                  </a:lnTo>
                  <a:lnTo>
                    <a:pt x="2394" y="1249"/>
                  </a:lnTo>
                  <a:lnTo>
                    <a:pt x="2386" y="1259"/>
                  </a:lnTo>
                  <a:lnTo>
                    <a:pt x="2379" y="1271"/>
                  </a:lnTo>
                  <a:lnTo>
                    <a:pt x="2373" y="1282"/>
                  </a:lnTo>
                  <a:lnTo>
                    <a:pt x="2366" y="1293"/>
                  </a:lnTo>
                  <a:lnTo>
                    <a:pt x="2361" y="1305"/>
                  </a:lnTo>
                  <a:lnTo>
                    <a:pt x="2356" y="1318"/>
                  </a:lnTo>
                  <a:lnTo>
                    <a:pt x="2352" y="1332"/>
                  </a:lnTo>
                  <a:lnTo>
                    <a:pt x="2347" y="1346"/>
                  </a:lnTo>
                  <a:lnTo>
                    <a:pt x="2346" y="1353"/>
                  </a:lnTo>
                  <a:lnTo>
                    <a:pt x="2344" y="1361"/>
                  </a:lnTo>
                  <a:lnTo>
                    <a:pt x="2342" y="1375"/>
                  </a:lnTo>
                  <a:lnTo>
                    <a:pt x="2340" y="1391"/>
                  </a:lnTo>
                  <a:lnTo>
                    <a:pt x="2337" y="1407"/>
                  </a:lnTo>
                  <a:lnTo>
                    <a:pt x="2336" y="1424"/>
                  </a:lnTo>
                  <a:lnTo>
                    <a:pt x="2336" y="1441"/>
                  </a:lnTo>
                  <a:lnTo>
                    <a:pt x="2336" y="1457"/>
                  </a:lnTo>
                  <a:lnTo>
                    <a:pt x="2337" y="1474"/>
                  </a:lnTo>
                  <a:lnTo>
                    <a:pt x="2338" y="1489"/>
                  </a:lnTo>
                  <a:lnTo>
                    <a:pt x="2341" y="1505"/>
                  </a:lnTo>
                  <a:lnTo>
                    <a:pt x="2344" y="1519"/>
                  </a:lnTo>
                  <a:lnTo>
                    <a:pt x="2347" y="1534"/>
                  </a:lnTo>
                  <a:lnTo>
                    <a:pt x="2352" y="1548"/>
                  </a:lnTo>
                  <a:lnTo>
                    <a:pt x="2356" y="1562"/>
                  </a:lnTo>
                  <a:lnTo>
                    <a:pt x="2361" y="1574"/>
                  </a:lnTo>
                  <a:lnTo>
                    <a:pt x="2366" y="1586"/>
                  </a:lnTo>
                  <a:lnTo>
                    <a:pt x="2372" y="1597"/>
                  </a:lnTo>
                  <a:lnTo>
                    <a:pt x="2378" y="1608"/>
                  </a:lnTo>
                  <a:lnTo>
                    <a:pt x="2386" y="1619"/>
                  </a:lnTo>
                  <a:lnTo>
                    <a:pt x="2393" y="1629"/>
                  </a:lnTo>
                  <a:lnTo>
                    <a:pt x="2401" y="1638"/>
                  </a:lnTo>
                  <a:lnTo>
                    <a:pt x="2409" y="1647"/>
                  </a:lnTo>
                  <a:lnTo>
                    <a:pt x="2418" y="1656"/>
                  </a:lnTo>
                  <a:lnTo>
                    <a:pt x="2427" y="1664"/>
                  </a:lnTo>
                  <a:lnTo>
                    <a:pt x="2436" y="1670"/>
                  </a:lnTo>
                  <a:lnTo>
                    <a:pt x="2446" y="1677"/>
                  </a:lnTo>
                  <a:lnTo>
                    <a:pt x="2456" y="1684"/>
                  </a:lnTo>
                  <a:lnTo>
                    <a:pt x="2467" y="1689"/>
                  </a:lnTo>
                  <a:lnTo>
                    <a:pt x="2477" y="1695"/>
                  </a:lnTo>
                  <a:lnTo>
                    <a:pt x="2488" y="1699"/>
                  </a:lnTo>
                  <a:lnTo>
                    <a:pt x="2501" y="1703"/>
                  </a:lnTo>
                  <a:lnTo>
                    <a:pt x="2512" y="1706"/>
                  </a:lnTo>
                  <a:lnTo>
                    <a:pt x="2524" y="1709"/>
                  </a:lnTo>
                  <a:lnTo>
                    <a:pt x="2536" y="1712"/>
                  </a:lnTo>
                  <a:lnTo>
                    <a:pt x="2548" y="1714"/>
                  </a:lnTo>
                  <a:lnTo>
                    <a:pt x="2561" y="1715"/>
                  </a:lnTo>
                  <a:lnTo>
                    <a:pt x="2574" y="1716"/>
                  </a:lnTo>
                  <a:lnTo>
                    <a:pt x="2586" y="1716"/>
                  </a:lnTo>
                  <a:lnTo>
                    <a:pt x="2603" y="1716"/>
                  </a:lnTo>
                  <a:lnTo>
                    <a:pt x="2618" y="1715"/>
                  </a:lnTo>
                  <a:lnTo>
                    <a:pt x="2634" y="1713"/>
                  </a:lnTo>
                  <a:lnTo>
                    <a:pt x="2647" y="1709"/>
                  </a:lnTo>
                  <a:lnTo>
                    <a:pt x="2661" y="1706"/>
                  </a:lnTo>
                  <a:lnTo>
                    <a:pt x="2673" y="1702"/>
                  </a:lnTo>
                  <a:lnTo>
                    <a:pt x="2685" y="1697"/>
                  </a:lnTo>
                  <a:lnTo>
                    <a:pt x="2696" y="1692"/>
                  </a:lnTo>
                  <a:lnTo>
                    <a:pt x="2706" y="1686"/>
                  </a:lnTo>
                  <a:lnTo>
                    <a:pt x="2716" y="1679"/>
                  </a:lnTo>
                  <a:lnTo>
                    <a:pt x="2725" y="1673"/>
                  </a:lnTo>
                  <a:lnTo>
                    <a:pt x="2734" y="1666"/>
                  </a:lnTo>
                  <a:lnTo>
                    <a:pt x="2742" y="1658"/>
                  </a:lnTo>
                  <a:lnTo>
                    <a:pt x="2748" y="1652"/>
                  </a:lnTo>
                  <a:lnTo>
                    <a:pt x="2755" y="1644"/>
                  </a:lnTo>
                  <a:lnTo>
                    <a:pt x="2762" y="1636"/>
                  </a:lnTo>
                  <a:lnTo>
                    <a:pt x="2764" y="1636"/>
                  </a:lnTo>
                  <a:lnTo>
                    <a:pt x="2764" y="1670"/>
                  </a:lnTo>
                  <a:lnTo>
                    <a:pt x="2763" y="1687"/>
                  </a:lnTo>
                  <a:lnTo>
                    <a:pt x="2762" y="1703"/>
                  </a:lnTo>
                  <a:lnTo>
                    <a:pt x="2759" y="1716"/>
                  </a:lnTo>
                  <a:lnTo>
                    <a:pt x="2758" y="1723"/>
                  </a:lnTo>
                  <a:lnTo>
                    <a:pt x="2756" y="1728"/>
                  </a:lnTo>
                  <a:lnTo>
                    <a:pt x="2754" y="1734"/>
                  </a:lnTo>
                  <a:lnTo>
                    <a:pt x="2752" y="1739"/>
                  </a:lnTo>
                  <a:lnTo>
                    <a:pt x="2747" y="1749"/>
                  </a:lnTo>
                  <a:lnTo>
                    <a:pt x="2741" y="1758"/>
                  </a:lnTo>
                  <a:lnTo>
                    <a:pt x="2737" y="1763"/>
                  </a:lnTo>
                  <a:lnTo>
                    <a:pt x="2734" y="1766"/>
                  </a:lnTo>
                  <a:lnTo>
                    <a:pt x="2725" y="1773"/>
                  </a:lnTo>
                  <a:lnTo>
                    <a:pt x="2716" y="1778"/>
                  </a:lnTo>
                  <a:lnTo>
                    <a:pt x="2706" y="1783"/>
                  </a:lnTo>
                  <a:lnTo>
                    <a:pt x="2695" y="1786"/>
                  </a:lnTo>
                  <a:lnTo>
                    <a:pt x="2683" y="1789"/>
                  </a:lnTo>
                  <a:lnTo>
                    <a:pt x="2668" y="1790"/>
                  </a:lnTo>
                  <a:lnTo>
                    <a:pt x="2654" y="1792"/>
                  </a:lnTo>
                  <a:lnTo>
                    <a:pt x="2638" y="1792"/>
                  </a:lnTo>
                  <a:lnTo>
                    <a:pt x="2623" y="1792"/>
                  </a:lnTo>
                  <a:lnTo>
                    <a:pt x="2605" y="1790"/>
                  </a:lnTo>
                  <a:lnTo>
                    <a:pt x="2585" y="1789"/>
                  </a:lnTo>
                  <a:lnTo>
                    <a:pt x="2563" y="1787"/>
                  </a:lnTo>
                  <a:lnTo>
                    <a:pt x="2538" y="1783"/>
                  </a:lnTo>
                  <a:lnTo>
                    <a:pt x="2513" y="1778"/>
                  </a:lnTo>
                  <a:lnTo>
                    <a:pt x="2484" y="1773"/>
                  </a:lnTo>
                  <a:lnTo>
                    <a:pt x="2452" y="1766"/>
                  </a:lnTo>
                  <a:lnTo>
                    <a:pt x="2424" y="1928"/>
                  </a:lnTo>
                  <a:lnTo>
                    <a:pt x="2456" y="1934"/>
                  </a:lnTo>
                  <a:lnTo>
                    <a:pt x="2489" y="1939"/>
                  </a:lnTo>
                  <a:lnTo>
                    <a:pt x="2521" y="1944"/>
                  </a:lnTo>
                  <a:lnTo>
                    <a:pt x="2551" y="1948"/>
                  </a:lnTo>
                  <a:lnTo>
                    <a:pt x="2578" y="1950"/>
                  </a:lnTo>
                  <a:lnTo>
                    <a:pt x="2605" y="1953"/>
                  </a:lnTo>
                  <a:lnTo>
                    <a:pt x="2629" y="1954"/>
                  </a:lnTo>
                  <a:lnTo>
                    <a:pt x="2651" y="1954"/>
                  </a:lnTo>
                  <a:close/>
                  <a:moveTo>
                    <a:pt x="2636" y="1566"/>
                  </a:moveTo>
                  <a:lnTo>
                    <a:pt x="2623" y="1565"/>
                  </a:lnTo>
                  <a:lnTo>
                    <a:pt x="2617" y="1565"/>
                  </a:lnTo>
                  <a:lnTo>
                    <a:pt x="2611" y="1564"/>
                  </a:lnTo>
                  <a:lnTo>
                    <a:pt x="2599" y="1560"/>
                  </a:lnTo>
                  <a:lnTo>
                    <a:pt x="2594" y="1559"/>
                  </a:lnTo>
                  <a:lnTo>
                    <a:pt x="2588" y="1557"/>
                  </a:lnTo>
                  <a:lnTo>
                    <a:pt x="2577" y="1552"/>
                  </a:lnTo>
                  <a:lnTo>
                    <a:pt x="2567" y="1546"/>
                  </a:lnTo>
                  <a:lnTo>
                    <a:pt x="2563" y="1543"/>
                  </a:lnTo>
                  <a:lnTo>
                    <a:pt x="2558" y="1539"/>
                  </a:lnTo>
                  <a:lnTo>
                    <a:pt x="2549" y="1532"/>
                  </a:lnTo>
                  <a:lnTo>
                    <a:pt x="2542" y="1524"/>
                  </a:lnTo>
                  <a:lnTo>
                    <a:pt x="2535" y="1514"/>
                  </a:lnTo>
                  <a:lnTo>
                    <a:pt x="2528" y="1504"/>
                  </a:lnTo>
                  <a:lnTo>
                    <a:pt x="2526" y="1498"/>
                  </a:lnTo>
                  <a:lnTo>
                    <a:pt x="2524" y="1493"/>
                  </a:lnTo>
                  <a:lnTo>
                    <a:pt x="2519" y="1482"/>
                  </a:lnTo>
                  <a:lnTo>
                    <a:pt x="2516" y="1468"/>
                  </a:lnTo>
                  <a:lnTo>
                    <a:pt x="2515" y="1462"/>
                  </a:lnTo>
                  <a:lnTo>
                    <a:pt x="2515" y="1455"/>
                  </a:lnTo>
                  <a:lnTo>
                    <a:pt x="2514" y="1442"/>
                  </a:lnTo>
                  <a:lnTo>
                    <a:pt x="2515" y="1427"/>
                  </a:lnTo>
                  <a:lnTo>
                    <a:pt x="2516" y="1415"/>
                  </a:lnTo>
                  <a:lnTo>
                    <a:pt x="2518" y="1408"/>
                  </a:lnTo>
                  <a:lnTo>
                    <a:pt x="2519" y="1402"/>
                  </a:lnTo>
                  <a:lnTo>
                    <a:pt x="2524" y="1391"/>
                  </a:lnTo>
                  <a:lnTo>
                    <a:pt x="2526" y="1385"/>
                  </a:lnTo>
                  <a:lnTo>
                    <a:pt x="2528" y="1379"/>
                  </a:lnTo>
                  <a:lnTo>
                    <a:pt x="2535" y="1369"/>
                  </a:lnTo>
                  <a:lnTo>
                    <a:pt x="2542" y="1359"/>
                  </a:lnTo>
                  <a:lnTo>
                    <a:pt x="2549" y="1351"/>
                  </a:lnTo>
                  <a:lnTo>
                    <a:pt x="2554" y="1347"/>
                  </a:lnTo>
                  <a:lnTo>
                    <a:pt x="2558" y="1344"/>
                  </a:lnTo>
                  <a:lnTo>
                    <a:pt x="2563" y="1341"/>
                  </a:lnTo>
                  <a:lnTo>
                    <a:pt x="2567" y="1337"/>
                  </a:lnTo>
                  <a:lnTo>
                    <a:pt x="2577" y="1331"/>
                  </a:lnTo>
                  <a:lnTo>
                    <a:pt x="2588" y="1326"/>
                  </a:lnTo>
                  <a:lnTo>
                    <a:pt x="2599" y="1323"/>
                  </a:lnTo>
                  <a:lnTo>
                    <a:pt x="2611" y="1319"/>
                  </a:lnTo>
                  <a:lnTo>
                    <a:pt x="2617" y="1318"/>
                  </a:lnTo>
                  <a:lnTo>
                    <a:pt x="2623" y="1318"/>
                  </a:lnTo>
                  <a:lnTo>
                    <a:pt x="2636" y="1317"/>
                  </a:lnTo>
                  <a:lnTo>
                    <a:pt x="2649" y="1318"/>
                  </a:lnTo>
                  <a:lnTo>
                    <a:pt x="2662" y="1319"/>
                  </a:lnTo>
                  <a:lnTo>
                    <a:pt x="2674" y="1323"/>
                  </a:lnTo>
                  <a:lnTo>
                    <a:pt x="2679" y="1324"/>
                  </a:lnTo>
                  <a:lnTo>
                    <a:pt x="2685" y="1326"/>
                  </a:lnTo>
                  <a:lnTo>
                    <a:pt x="2696" y="1331"/>
                  </a:lnTo>
                  <a:lnTo>
                    <a:pt x="2701" y="1334"/>
                  </a:lnTo>
                  <a:lnTo>
                    <a:pt x="2706" y="1337"/>
                  </a:lnTo>
                  <a:lnTo>
                    <a:pt x="2711" y="1341"/>
                  </a:lnTo>
                  <a:lnTo>
                    <a:pt x="2715" y="1344"/>
                  </a:lnTo>
                  <a:lnTo>
                    <a:pt x="2724" y="1351"/>
                  </a:lnTo>
                  <a:lnTo>
                    <a:pt x="2732" y="1359"/>
                  </a:lnTo>
                  <a:lnTo>
                    <a:pt x="2738" y="1369"/>
                  </a:lnTo>
                  <a:lnTo>
                    <a:pt x="2745" y="1379"/>
                  </a:lnTo>
                  <a:lnTo>
                    <a:pt x="2747" y="1385"/>
                  </a:lnTo>
                  <a:lnTo>
                    <a:pt x="2749" y="1391"/>
                  </a:lnTo>
                  <a:lnTo>
                    <a:pt x="2754" y="1402"/>
                  </a:lnTo>
                  <a:lnTo>
                    <a:pt x="2756" y="1415"/>
                  </a:lnTo>
                  <a:lnTo>
                    <a:pt x="2757" y="1421"/>
                  </a:lnTo>
                  <a:lnTo>
                    <a:pt x="2758" y="1427"/>
                  </a:lnTo>
                  <a:lnTo>
                    <a:pt x="2759" y="1442"/>
                  </a:lnTo>
                  <a:lnTo>
                    <a:pt x="2758" y="1455"/>
                  </a:lnTo>
                  <a:lnTo>
                    <a:pt x="2756" y="1468"/>
                  </a:lnTo>
                  <a:lnTo>
                    <a:pt x="2755" y="1475"/>
                  </a:lnTo>
                  <a:lnTo>
                    <a:pt x="2754" y="1482"/>
                  </a:lnTo>
                  <a:lnTo>
                    <a:pt x="2749" y="1493"/>
                  </a:lnTo>
                  <a:lnTo>
                    <a:pt x="2747" y="1498"/>
                  </a:lnTo>
                  <a:lnTo>
                    <a:pt x="2745" y="1504"/>
                  </a:lnTo>
                  <a:lnTo>
                    <a:pt x="2738" y="1514"/>
                  </a:lnTo>
                  <a:lnTo>
                    <a:pt x="2732" y="1524"/>
                  </a:lnTo>
                  <a:lnTo>
                    <a:pt x="2724" y="1532"/>
                  </a:lnTo>
                  <a:lnTo>
                    <a:pt x="2719" y="1536"/>
                  </a:lnTo>
                  <a:lnTo>
                    <a:pt x="2715" y="1539"/>
                  </a:lnTo>
                  <a:lnTo>
                    <a:pt x="2711" y="1543"/>
                  </a:lnTo>
                  <a:lnTo>
                    <a:pt x="2706" y="1546"/>
                  </a:lnTo>
                  <a:lnTo>
                    <a:pt x="2696" y="1552"/>
                  </a:lnTo>
                  <a:lnTo>
                    <a:pt x="2685" y="1557"/>
                  </a:lnTo>
                  <a:lnTo>
                    <a:pt x="2674" y="1560"/>
                  </a:lnTo>
                  <a:lnTo>
                    <a:pt x="2662" y="1564"/>
                  </a:lnTo>
                  <a:lnTo>
                    <a:pt x="2649" y="1565"/>
                  </a:lnTo>
                  <a:lnTo>
                    <a:pt x="2636" y="1566"/>
                  </a:lnTo>
                  <a:close/>
                  <a:moveTo>
                    <a:pt x="3254" y="1160"/>
                  </a:moveTo>
                  <a:lnTo>
                    <a:pt x="3239" y="1161"/>
                  </a:lnTo>
                  <a:lnTo>
                    <a:pt x="3224" y="1162"/>
                  </a:lnTo>
                  <a:lnTo>
                    <a:pt x="3209" y="1163"/>
                  </a:lnTo>
                  <a:lnTo>
                    <a:pt x="3195" y="1165"/>
                  </a:lnTo>
                  <a:lnTo>
                    <a:pt x="3181" y="1167"/>
                  </a:lnTo>
                  <a:lnTo>
                    <a:pt x="3167" y="1171"/>
                  </a:lnTo>
                  <a:lnTo>
                    <a:pt x="3154" y="1175"/>
                  </a:lnTo>
                  <a:lnTo>
                    <a:pt x="3141" y="1179"/>
                  </a:lnTo>
                  <a:lnTo>
                    <a:pt x="3129" y="1184"/>
                  </a:lnTo>
                  <a:lnTo>
                    <a:pt x="3117" y="1189"/>
                  </a:lnTo>
                  <a:lnTo>
                    <a:pt x="3105" y="1196"/>
                  </a:lnTo>
                  <a:lnTo>
                    <a:pt x="3094" y="1203"/>
                  </a:lnTo>
                  <a:lnTo>
                    <a:pt x="3083" y="1209"/>
                  </a:lnTo>
                  <a:lnTo>
                    <a:pt x="3073" y="1217"/>
                  </a:lnTo>
                  <a:lnTo>
                    <a:pt x="3063" y="1226"/>
                  </a:lnTo>
                  <a:lnTo>
                    <a:pt x="3053" y="1235"/>
                  </a:lnTo>
                  <a:lnTo>
                    <a:pt x="3044" y="1244"/>
                  </a:lnTo>
                  <a:lnTo>
                    <a:pt x="3035" y="1254"/>
                  </a:lnTo>
                  <a:lnTo>
                    <a:pt x="3027" y="1264"/>
                  </a:lnTo>
                  <a:lnTo>
                    <a:pt x="3019" y="1275"/>
                  </a:lnTo>
                  <a:lnTo>
                    <a:pt x="3013" y="1287"/>
                  </a:lnTo>
                  <a:lnTo>
                    <a:pt x="3006" y="1298"/>
                  </a:lnTo>
                  <a:lnTo>
                    <a:pt x="3003" y="1305"/>
                  </a:lnTo>
                  <a:lnTo>
                    <a:pt x="2999" y="1311"/>
                  </a:lnTo>
                  <a:lnTo>
                    <a:pt x="2995" y="1324"/>
                  </a:lnTo>
                  <a:lnTo>
                    <a:pt x="2989" y="1337"/>
                  </a:lnTo>
                  <a:lnTo>
                    <a:pt x="2986" y="1352"/>
                  </a:lnTo>
                  <a:lnTo>
                    <a:pt x="2982" y="1365"/>
                  </a:lnTo>
                  <a:lnTo>
                    <a:pt x="2979" y="1381"/>
                  </a:lnTo>
                  <a:lnTo>
                    <a:pt x="2977" y="1395"/>
                  </a:lnTo>
                  <a:lnTo>
                    <a:pt x="2975" y="1412"/>
                  </a:lnTo>
                  <a:lnTo>
                    <a:pt x="2974" y="1427"/>
                  </a:lnTo>
                  <a:lnTo>
                    <a:pt x="2974" y="1444"/>
                  </a:lnTo>
                  <a:lnTo>
                    <a:pt x="2974" y="1459"/>
                  </a:lnTo>
                  <a:lnTo>
                    <a:pt x="2975" y="1475"/>
                  </a:lnTo>
                  <a:lnTo>
                    <a:pt x="2977" y="1489"/>
                  </a:lnTo>
                  <a:lnTo>
                    <a:pt x="2979" y="1505"/>
                  </a:lnTo>
                  <a:lnTo>
                    <a:pt x="2982" y="1518"/>
                  </a:lnTo>
                  <a:lnTo>
                    <a:pt x="2986" y="1533"/>
                  </a:lnTo>
                  <a:lnTo>
                    <a:pt x="2990" y="1546"/>
                  </a:lnTo>
                  <a:lnTo>
                    <a:pt x="2993" y="1553"/>
                  </a:lnTo>
                  <a:lnTo>
                    <a:pt x="2995" y="1559"/>
                  </a:lnTo>
                  <a:lnTo>
                    <a:pt x="3000" y="1572"/>
                  </a:lnTo>
                  <a:lnTo>
                    <a:pt x="3006" y="1584"/>
                  </a:lnTo>
                  <a:lnTo>
                    <a:pt x="3013" y="1596"/>
                  </a:lnTo>
                  <a:lnTo>
                    <a:pt x="3020" y="1607"/>
                  </a:lnTo>
                  <a:lnTo>
                    <a:pt x="3028" y="1617"/>
                  </a:lnTo>
                  <a:lnTo>
                    <a:pt x="3037" y="1628"/>
                  </a:lnTo>
                  <a:lnTo>
                    <a:pt x="3046" y="1638"/>
                  </a:lnTo>
                  <a:lnTo>
                    <a:pt x="3055" y="1647"/>
                  </a:lnTo>
                  <a:lnTo>
                    <a:pt x="3065" y="1656"/>
                  </a:lnTo>
                  <a:lnTo>
                    <a:pt x="3076" y="1665"/>
                  </a:lnTo>
                  <a:lnTo>
                    <a:pt x="3086" y="1673"/>
                  </a:lnTo>
                  <a:lnTo>
                    <a:pt x="3098" y="1680"/>
                  </a:lnTo>
                  <a:lnTo>
                    <a:pt x="3110" y="1687"/>
                  </a:lnTo>
                  <a:lnTo>
                    <a:pt x="3123" y="1693"/>
                  </a:lnTo>
                  <a:lnTo>
                    <a:pt x="3135" y="1699"/>
                  </a:lnTo>
                  <a:lnTo>
                    <a:pt x="3148" y="1704"/>
                  </a:lnTo>
                  <a:lnTo>
                    <a:pt x="3163" y="1709"/>
                  </a:lnTo>
                  <a:lnTo>
                    <a:pt x="3177" y="1713"/>
                  </a:lnTo>
                  <a:lnTo>
                    <a:pt x="3191" y="1716"/>
                  </a:lnTo>
                  <a:lnTo>
                    <a:pt x="3206" y="1719"/>
                  </a:lnTo>
                  <a:lnTo>
                    <a:pt x="3221" y="1722"/>
                  </a:lnTo>
                  <a:lnTo>
                    <a:pt x="3237" y="1723"/>
                  </a:lnTo>
                  <a:lnTo>
                    <a:pt x="3254" y="1724"/>
                  </a:lnTo>
                  <a:lnTo>
                    <a:pt x="3270" y="1724"/>
                  </a:lnTo>
                  <a:lnTo>
                    <a:pt x="3287" y="1724"/>
                  </a:lnTo>
                  <a:lnTo>
                    <a:pt x="3304" y="1723"/>
                  </a:lnTo>
                  <a:lnTo>
                    <a:pt x="3319" y="1722"/>
                  </a:lnTo>
                  <a:lnTo>
                    <a:pt x="3335" y="1719"/>
                  </a:lnTo>
                  <a:lnTo>
                    <a:pt x="3350" y="1717"/>
                  </a:lnTo>
                  <a:lnTo>
                    <a:pt x="3365" y="1714"/>
                  </a:lnTo>
                  <a:lnTo>
                    <a:pt x="3379" y="1710"/>
                  </a:lnTo>
                  <a:lnTo>
                    <a:pt x="3393" y="1706"/>
                  </a:lnTo>
                  <a:lnTo>
                    <a:pt x="3406" y="1702"/>
                  </a:lnTo>
                  <a:lnTo>
                    <a:pt x="3419" y="1697"/>
                  </a:lnTo>
                  <a:lnTo>
                    <a:pt x="3445" y="1686"/>
                  </a:lnTo>
                  <a:lnTo>
                    <a:pt x="3456" y="1680"/>
                  </a:lnTo>
                  <a:lnTo>
                    <a:pt x="3468" y="1675"/>
                  </a:lnTo>
                  <a:lnTo>
                    <a:pt x="3489" y="1663"/>
                  </a:lnTo>
                  <a:lnTo>
                    <a:pt x="3426" y="1532"/>
                  </a:lnTo>
                  <a:lnTo>
                    <a:pt x="3413" y="1539"/>
                  </a:lnTo>
                  <a:lnTo>
                    <a:pt x="3397" y="1548"/>
                  </a:lnTo>
                  <a:lnTo>
                    <a:pt x="3380" y="1556"/>
                  </a:lnTo>
                  <a:lnTo>
                    <a:pt x="3361" y="1564"/>
                  </a:lnTo>
                  <a:lnTo>
                    <a:pt x="3340" y="1570"/>
                  </a:lnTo>
                  <a:lnTo>
                    <a:pt x="3330" y="1573"/>
                  </a:lnTo>
                  <a:lnTo>
                    <a:pt x="3319" y="1575"/>
                  </a:lnTo>
                  <a:lnTo>
                    <a:pt x="3308" y="1577"/>
                  </a:lnTo>
                  <a:lnTo>
                    <a:pt x="3296" y="1578"/>
                  </a:lnTo>
                  <a:lnTo>
                    <a:pt x="3285" y="1579"/>
                  </a:lnTo>
                  <a:lnTo>
                    <a:pt x="3273" y="1579"/>
                  </a:lnTo>
                  <a:lnTo>
                    <a:pt x="3259" y="1579"/>
                  </a:lnTo>
                  <a:lnTo>
                    <a:pt x="3247" y="1578"/>
                  </a:lnTo>
                  <a:lnTo>
                    <a:pt x="3235" y="1576"/>
                  </a:lnTo>
                  <a:lnTo>
                    <a:pt x="3223" y="1574"/>
                  </a:lnTo>
                  <a:lnTo>
                    <a:pt x="3217" y="1573"/>
                  </a:lnTo>
                  <a:lnTo>
                    <a:pt x="3211" y="1570"/>
                  </a:lnTo>
                  <a:lnTo>
                    <a:pt x="3201" y="1566"/>
                  </a:lnTo>
                  <a:lnTo>
                    <a:pt x="3191" y="1562"/>
                  </a:lnTo>
                  <a:lnTo>
                    <a:pt x="3183" y="1556"/>
                  </a:lnTo>
                  <a:lnTo>
                    <a:pt x="3174" y="1549"/>
                  </a:lnTo>
                  <a:lnTo>
                    <a:pt x="3166" y="1543"/>
                  </a:lnTo>
                  <a:lnTo>
                    <a:pt x="3159" y="1535"/>
                  </a:lnTo>
                  <a:lnTo>
                    <a:pt x="3153" y="1526"/>
                  </a:lnTo>
                  <a:lnTo>
                    <a:pt x="3147" y="1516"/>
                  </a:lnTo>
                  <a:lnTo>
                    <a:pt x="3143" y="1506"/>
                  </a:lnTo>
                  <a:lnTo>
                    <a:pt x="3139" y="1495"/>
                  </a:lnTo>
                  <a:lnTo>
                    <a:pt x="3138" y="1489"/>
                  </a:lnTo>
                  <a:lnTo>
                    <a:pt x="3137" y="1483"/>
                  </a:lnTo>
                  <a:lnTo>
                    <a:pt x="3517" y="1483"/>
                  </a:lnTo>
                  <a:lnTo>
                    <a:pt x="3517" y="1444"/>
                  </a:lnTo>
                  <a:lnTo>
                    <a:pt x="3517" y="1426"/>
                  </a:lnTo>
                  <a:lnTo>
                    <a:pt x="3516" y="1409"/>
                  </a:lnTo>
                  <a:lnTo>
                    <a:pt x="3515" y="1393"/>
                  </a:lnTo>
                  <a:lnTo>
                    <a:pt x="3512" y="1376"/>
                  </a:lnTo>
                  <a:lnTo>
                    <a:pt x="3509" y="1362"/>
                  </a:lnTo>
                  <a:lnTo>
                    <a:pt x="3508" y="1354"/>
                  </a:lnTo>
                  <a:lnTo>
                    <a:pt x="3507" y="1346"/>
                  </a:lnTo>
                  <a:lnTo>
                    <a:pt x="3502" y="1332"/>
                  </a:lnTo>
                  <a:lnTo>
                    <a:pt x="3498" y="1318"/>
                  </a:lnTo>
                  <a:lnTo>
                    <a:pt x="3494" y="1305"/>
                  </a:lnTo>
                  <a:lnTo>
                    <a:pt x="3488" y="1293"/>
                  </a:lnTo>
                  <a:lnTo>
                    <a:pt x="3483" y="1281"/>
                  </a:lnTo>
                  <a:lnTo>
                    <a:pt x="3476" y="1269"/>
                  </a:lnTo>
                  <a:lnTo>
                    <a:pt x="3469" y="1259"/>
                  </a:lnTo>
                  <a:lnTo>
                    <a:pt x="3461" y="1248"/>
                  </a:lnTo>
                  <a:lnTo>
                    <a:pt x="3454" y="1239"/>
                  </a:lnTo>
                  <a:lnTo>
                    <a:pt x="3446" y="1229"/>
                  </a:lnTo>
                  <a:lnTo>
                    <a:pt x="3437" y="1222"/>
                  </a:lnTo>
                  <a:lnTo>
                    <a:pt x="3427" y="1214"/>
                  </a:lnTo>
                  <a:lnTo>
                    <a:pt x="3418" y="1206"/>
                  </a:lnTo>
                  <a:lnTo>
                    <a:pt x="3407" y="1199"/>
                  </a:lnTo>
                  <a:lnTo>
                    <a:pt x="3397" y="1193"/>
                  </a:lnTo>
                  <a:lnTo>
                    <a:pt x="3386" y="1187"/>
                  </a:lnTo>
                  <a:lnTo>
                    <a:pt x="3375" y="1182"/>
                  </a:lnTo>
                  <a:lnTo>
                    <a:pt x="3363" y="1177"/>
                  </a:lnTo>
                  <a:lnTo>
                    <a:pt x="3350" y="1173"/>
                  </a:lnTo>
                  <a:lnTo>
                    <a:pt x="3337" y="1169"/>
                  </a:lnTo>
                  <a:lnTo>
                    <a:pt x="3325" y="1167"/>
                  </a:lnTo>
                  <a:lnTo>
                    <a:pt x="3311" y="1164"/>
                  </a:lnTo>
                  <a:lnTo>
                    <a:pt x="3297" y="1163"/>
                  </a:lnTo>
                  <a:lnTo>
                    <a:pt x="3284" y="1161"/>
                  </a:lnTo>
                  <a:lnTo>
                    <a:pt x="3269" y="1161"/>
                  </a:lnTo>
                  <a:lnTo>
                    <a:pt x="3254" y="1160"/>
                  </a:lnTo>
                  <a:close/>
                  <a:moveTo>
                    <a:pt x="3248" y="1283"/>
                  </a:moveTo>
                  <a:lnTo>
                    <a:pt x="3258" y="1284"/>
                  </a:lnTo>
                  <a:lnTo>
                    <a:pt x="3268" y="1285"/>
                  </a:lnTo>
                  <a:lnTo>
                    <a:pt x="3278" y="1287"/>
                  </a:lnTo>
                  <a:lnTo>
                    <a:pt x="3287" y="1289"/>
                  </a:lnTo>
                  <a:lnTo>
                    <a:pt x="3296" y="1293"/>
                  </a:lnTo>
                  <a:lnTo>
                    <a:pt x="3305" y="1297"/>
                  </a:lnTo>
                  <a:lnTo>
                    <a:pt x="3311" y="1303"/>
                  </a:lnTo>
                  <a:lnTo>
                    <a:pt x="3319" y="1308"/>
                  </a:lnTo>
                  <a:lnTo>
                    <a:pt x="3323" y="1312"/>
                  </a:lnTo>
                  <a:lnTo>
                    <a:pt x="3326" y="1315"/>
                  </a:lnTo>
                  <a:lnTo>
                    <a:pt x="3331" y="1323"/>
                  </a:lnTo>
                  <a:lnTo>
                    <a:pt x="3336" y="1331"/>
                  </a:lnTo>
                  <a:lnTo>
                    <a:pt x="3340" y="1339"/>
                  </a:lnTo>
                  <a:lnTo>
                    <a:pt x="3344" y="1348"/>
                  </a:lnTo>
                  <a:lnTo>
                    <a:pt x="3347" y="1358"/>
                  </a:lnTo>
                  <a:lnTo>
                    <a:pt x="3348" y="1364"/>
                  </a:lnTo>
                  <a:lnTo>
                    <a:pt x="3348" y="1369"/>
                  </a:lnTo>
                  <a:lnTo>
                    <a:pt x="3349" y="1375"/>
                  </a:lnTo>
                  <a:lnTo>
                    <a:pt x="3349" y="1381"/>
                  </a:lnTo>
                  <a:lnTo>
                    <a:pt x="3138" y="1381"/>
                  </a:lnTo>
                  <a:lnTo>
                    <a:pt x="3139" y="1368"/>
                  </a:lnTo>
                  <a:lnTo>
                    <a:pt x="3143" y="1357"/>
                  </a:lnTo>
                  <a:lnTo>
                    <a:pt x="3146" y="1346"/>
                  </a:lnTo>
                  <a:lnTo>
                    <a:pt x="3150" y="1336"/>
                  </a:lnTo>
                  <a:lnTo>
                    <a:pt x="3153" y="1332"/>
                  </a:lnTo>
                  <a:lnTo>
                    <a:pt x="3155" y="1327"/>
                  </a:lnTo>
                  <a:lnTo>
                    <a:pt x="3160" y="1319"/>
                  </a:lnTo>
                  <a:lnTo>
                    <a:pt x="3167" y="1313"/>
                  </a:lnTo>
                  <a:lnTo>
                    <a:pt x="3174" y="1306"/>
                  </a:lnTo>
                  <a:lnTo>
                    <a:pt x="3181" y="1301"/>
                  </a:lnTo>
                  <a:lnTo>
                    <a:pt x="3189" y="1296"/>
                  </a:lnTo>
                  <a:lnTo>
                    <a:pt x="3198" y="1292"/>
                  </a:lnTo>
                  <a:lnTo>
                    <a:pt x="3207" y="1288"/>
                  </a:lnTo>
                  <a:lnTo>
                    <a:pt x="3217" y="1286"/>
                  </a:lnTo>
                  <a:lnTo>
                    <a:pt x="3227" y="1284"/>
                  </a:lnTo>
                  <a:lnTo>
                    <a:pt x="3237" y="1283"/>
                  </a:lnTo>
                  <a:lnTo>
                    <a:pt x="3248" y="1283"/>
                  </a:lnTo>
                  <a:close/>
                  <a:moveTo>
                    <a:pt x="292" y="601"/>
                  </a:moveTo>
                  <a:lnTo>
                    <a:pt x="292" y="614"/>
                  </a:lnTo>
                  <a:lnTo>
                    <a:pt x="292" y="626"/>
                  </a:lnTo>
                  <a:lnTo>
                    <a:pt x="290" y="651"/>
                  </a:lnTo>
                  <a:lnTo>
                    <a:pt x="288" y="662"/>
                  </a:lnTo>
                  <a:lnTo>
                    <a:pt x="286" y="672"/>
                  </a:lnTo>
                  <a:lnTo>
                    <a:pt x="283" y="683"/>
                  </a:lnTo>
                  <a:lnTo>
                    <a:pt x="280" y="693"/>
                  </a:lnTo>
                  <a:lnTo>
                    <a:pt x="277" y="702"/>
                  </a:lnTo>
                  <a:lnTo>
                    <a:pt x="273" y="712"/>
                  </a:lnTo>
                  <a:lnTo>
                    <a:pt x="269" y="721"/>
                  </a:lnTo>
                  <a:lnTo>
                    <a:pt x="265" y="729"/>
                  </a:lnTo>
                  <a:lnTo>
                    <a:pt x="259" y="736"/>
                  </a:lnTo>
                  <a:lnTo>
                    <a:pt x="253" y="744"/>
                  </a:lnTo>
                  <a:lnTo>
                    <a:pt x="248" y="751"/>
                  </a:lnTo>
                  <a:lnTo>
                    <a:pt x="242" y="757"/>
                  </a:lnTo>
                  <a:lnTo>
                    <a:pt x="236" y="763"/>
                  </a:lnTo>
                  <a:lnTo>
                    <a:pt x="228" y="770"/>
                  </a:lnTo>
                  <a:lnTo>
                    <a:pt x="221" y="774"/>
                  </a:lnTo>
                  <a:lnTo>
                    <a:pt x="213" y="780"/>
                  </a:lnTo>
                  <a:lnTo>
                    <a:pt x="205" y="784"/>
                  </a:lnTo>
                  <a:lnTo>
                    <a:pt x="196" y="789"/>
                  </a:lnTo>
                  <a:lnTo>
                    <a:pt x="187" y="792"/>
                  </a:lnTo>
                  <a:lnTo>
                    <a:pt x="178" y="795"/>
                  </a:lnTo>
                  <a:lnTo>
                    <a:pt x="168" y="797"/>
                  </a:lnTo>
                  <a:lnTo>
                    <a:pt x="157" y="801"/>
                  </a:lnTo>
                  <a:lnTo>
                    <a:pt x="147" y="803"/>
                  </a:lnTo>
                  <a:lnTo>
                    <a:pt x="136" y="804"/>
                  </a:lnTo>
                  <a:lnTo>
                    <a:pt x="123" y="805"/>
                  </a:lnTo>
                  <a:lnTo>
                    <a:pt x="111" y="806"/>
                  </a:lnTo>
                  <a:lnTo>
                    <a:pt x="99" y="807"/>
                  </a:lnTo>
                  <a:lnTo>
                    <a:pt x="86" y="807"/>
                  </a:lnTo>
                  <a:lnTo>
                    <a:pt x="29" y="807"/>
                  </a:lnTo>
                  <a:lnTo>
                    <a:pt x="29" y="641"/>
                  </a:lnTo>
                  <a:lnTo>
                    <a:pt x="68" y="641"/>
                  </a:lnTo>
                  <a:lnTo>
                    <a:pt x="78" y="640"/>
                  </a:lnTo>
                  <a:lnTo>
                    <a:pt x="82" y="639"/>
                  </a:lnTo>
                  <a:lnTo>
                    <a:pt x="87" y="637"/>
                  </a:lnTo>
                  <a:lnTo>
                    <a:pt x="91" y="635"/>
                  </a:lnTo>
                  <a:lnTo>
                    <a:pt x="96" y="633"/>
                  </a:lnTo>
                  <a:lnTo>
                    <a:pt x="99" y="630"/>
                  </a:lnTo>
                  <a:lnTo>
                    <a:pt x="102" y="626"/>
                  </a:lnTo>
                  <a:lnTo>
                    <a:pt x="108" y="619"/>
                  </a:lnTo>
                  <a:lnTo>
                    <a:pt x="110" y="614"/>
                  </a:lnTo>
                  <a:lnTo>
                    <a:pt x="111" y="610"/>
                  </a:lnTo>
                  <a:lnTo>
                    <a:pt x="112" y="604"/>
                  </a:lnTo>
                  <a:lnTo>
                    <a:pt x="113" y="597"/>
                  </a:lnTo>
                  <a:lnTo>
                    <a:pt x="115" y="591"/>
                  </a:lnTo>
                  <a:lnTo>
                    <a:pt x="115" y="584"/>
                  </a:lnTo>
                  <a:lnTo>
                    <a:pt x="115" y="0"/>
                  </a:lnTo>
                  <a:lnTo>
                    <a:pt x="292" y="0"/>
                  </a:lnTo>
                  <a:lnTo>
                    <a:pt x="292" y="601"/>
                  </a:lnTo>
                  <a:close/>
                  <a:moveTo>
                    <a:pt x="929" y="539"/>
                  </a:moveTo>
                  <a:lnTo>
                    <a:pt x="929" y="554"/>
                  </a:lnTo>
                  <a:lnTo>
                    <a:pt x="928" y="570"/>
                  </a:lnTo>
                  <a:lnTo>
                    <a:pt x="925" y="584"/>
                  </a:lnTo>
                  <a:lnTo>
                    <a:pt x="923" y="600"/>
                  </a:lnTo>
                  <a:lnTo>
                    <a:pt x="920" y="614"/>
                  </a:lnTo>
                  <a:lnTo>
                    <a:pt x="917" y="627"/>
                  </a:lnTo>
                  <a:lnTo>
                    <a:pt x="912" y="641"/>
                  </a:lnTo>
                  <a:lnTo>
                    <a:pt x="907" y="654"/>
                  </a:lnTo>
                  <a:lnTo>
                    <a:pt x="901" y="667"/>
                  </a:lnTo>
                  <a:lnTo>
                    <a:pt x="894" y="680"/>
                  </a:lnTo>
                  <a:lnTo>
                    <a:pt x="888" y="691"/>
                  </a:lnTo>
                  <a:lnTo>
                    <a:pt x="880" y="703"/>
                  </a:lnTo>
                  <a:lnTo>
                    <a:pt x="872" y="713"/>
                  </a:lnTo>
                  <a:lnTo>
                    <a:pt x="863" y="724"/>
                  </a:lnTo>
                  <a:lnTo>
                    <a:pt x="854" y="734"/>
                  </a:lnTo>
                  <a:lnTo>
                    <a:pt x="844" y="743"/>
                  </a:lnTo>
                  <a:lnTo>
                    <a:pt x="834" y="753"/>
                  </a:lnTo>
                  <a:lnTo>
                    <a:pt x="823" y="761"/>
                  </a:lnTo>
                  <a:lnTo>
                    <a:pt x="812" y="769"/>
                  </a:lnTo>
                  <a:lnTo>
                    <a:pt x="800" y="776"/>
                  </a:lnTo>
                  <a:lnTo>
                    <a:pt x="789" y="783"/>
                  </a:lnTo>
                  <a:lnTo>
                    <a:pt x="776" y="790"/>
                  </a:lnTo>
                  <a:lnTo>
                    <a:pt x="763" y="795"/>
                  </a:lnTo>
                  <a:lnTo>
                    <a:pt x="750" y="801"/>
                  </a:lnTo>
                  <a:lnTo>
                    <a:pt x="736" y="805"/>
                  </a:lnTo>
                  <a:lnTo>
                    <a:pt x="722" y="810"/>
                  </a:lnTo>
                  <a:lnTo>
                    <a:pt x="708" y="813"/>
                  </a:lnTo>
                  <a:lnTo>
                    <a:pt x="692" y="816"/>
                  </a:lnTo>
                  <a:lnTo>
                    <a:pt x="678" y="819"/>
                  </a:lnTo>
                  <a:lnTo>
                    <a:pt x="662" y="820"/>
                  </a:lnTo>
                  <a:lnTo>
                    <a:pt x="647" y="821"/>
                  </a:lnTo>
                  <a:lnTo>
                    <a:pt x="630" y="821"/>
                  </a:lnTo>
                  <a:lnTo>
                    <a:pt x="614" y="821"/>
                  </a:lnTo>
                  <a:lnTo>
                    <a:pt x="599" y="820"/>
                  </a:lnTo>
                  <a:lnTo>
                    <a:pt x="583" y="819"/>
                  </a:lnTo>
                  <a:lnTo>
                    <a:pt x="568" y="816"/>
                  </a:lnTo>
                  <a:lnTo>
                    <a:pt x="553" y="813"/>
                  </a:lnTo>
                  <a:lnTo>
                    <a:pt x="539" y="810"/>
                  </a:lnTo>
                  <a:lnTo>
                    <a:pt x="526" y="805"/>
                  </a:lnTo>
                  <a:lnTo>
                    <a:pt x="511" y="801"/>
                  </a:lnTo>
                  <a:lnTo>
                    <a:pt x="498" y="795"/>
                  </a:lnTo>
                  <a:lnTo>
                    <a:pt x="486" y="790"/>
                  </a:lnTo>
                  <a:lnTo>
                    <a:pt x="473" y="783"/>
                  </a:lnTo>
                  <a:lnTo>
                    <a:pt x="461" y="776"/>
                  </a:lnTo>
                  <a:lnTo>
                    <a:pt x="449" y="769"/>
                  </a:lnTo>
                  <a:lnTo>
                    <a:pt x="438" y="761"/>
                  </a:lnTo>
                  <a:lnTo>
                    <a:pt x="428" y="753"/>
                  </a:lnTo>
                  <a:lnTo>
                    <a:pt x="417" y="743"/>
                  </a:lnTo>
                  <a:lnTo>
                    <a:pt x="408" y="734"/>
                  </a:lnTo>
                  <a:lnTo>
                    <a:pt x="398" y="724"/>
                  </a:lnTo>
                  <a:lnTo>
                    <a:pt x="390" y="713"/>
                  </a:lnTo>
                  <a:lnTo>
                    <a:pt x="381" y="703"/>
                  </a:lnTo>
                  <a:lnTo>
                    <a:pt x="375" y="691"/>
                  </a:lnTo>
                  <a:lnTo>
                    <a:pt x="367" y="680"/>
                  </a:lnTo>
                  <a:lnTo>
                    <a:pt x="361" y="667"/>
                  </a:lnTo>
                  <a:lnTo>
                    <a:pt x="355" y="654"/>
                  </a:lnTo>
                  <a:lnTo>
                    <a:pt x="350" y="641"/>
                  </a:lnTo>
                  <a:lnTo>
                    <a:pt x="346" y="627"/>
                  </a:lnTo>
                  <a:lnTo>
                    <a:pt x="341" y="614"/>
                  </a:lnTo>
                  <a:lnTo>
                    <a:pt x="338" y="600"/>
                  </a:lnTo>
                  <a:lnTo>
                    <a:pt x="336" y="584"/>
                  </a:lnTo>
                  <a:lnTo>
                    <a:pt x="335" y="570"/>
                  </a:lnTo>
                  <a:lnTo>
                    <a:pt x="333" y="554"/>
                  </a:lnTo>
                  <a:lnTo>
                    <a:pt x="332" y="539"/>
                  </a:lnTo>
                  <a:lnTo>
                    <a:pt x="333" y="523"/>
                  </a:lnTo>
                  <a:lnTo>
                    <a:pt x="335" y="508"/>
                  </a:lnTo>
                  <a:lnTo>
                    <a:pt x="336" y="492"/>
                  </a:lnTo>
                  <a:lnTo>
                    <a:pt x="338" y="478"/>
                  </a:lnTo>
                  <a:lnTo>
                    <a:pt x="341" y="463"/>
                  </a:lnTo>
                  <a:lnTo>
                    <a:pt x="346" y="449"/>
                  </a:lnTo>
                  <a:lnTo>
                    <a:pt x="350" y="435"/>
                  </a:lnTo>
                  <a:lnTo>
                    <a:pt x="355" y="422"/>
                  </a:lnTo>
                  <a:lnTo>
                    <a:pt x="361" y="410"/>
                  </a:lnTo>
                  <a:lnTo>
                    <a:pt x="367" y="398"/>
                  </a:lnTo>
                  <a:lnTo>
                    <a:pt x="375" y="385"/>
                  </a:lnTo>
                  <a:lnTo>
                    <a:pt x="381" y="374"/>
                  </a:lnTo>
                  <a:lnTo>
                    <a:pt x="390" y="363"/>
                  </a:lnTo>
                  <a:lnTo>
                    <a:pt x="398" y="353"/>
                  </a:lnTo>
                  <a:lnTo>
                    <a:pt x="408" y="343"/>
                  </a:lnTo>
                  <a:lnTo>
                    <a:pt x="417" y="333"/>
                  </a:lnTo>
                  <a:lnTo>
                    <a:pt x="428" y="324"/>
                  </a:lnTo>
                  <a:lnTo>
                    <a:pt x="438" y="315"/>
                  </a:lnTo>
                  <a:lnTo>
                    <a:pt x="449" y="308"/>
                  </a:lnTo>
                  <a:lnTo>
                    <a:pt x="461" y="300"/>
                  </a:lnTo>
                  <a:lnTo>
                    <a:pt x="473" y="293"/>
                  </a:lnTo>
                  <a:lnTo>
                    <a:pt x="486" y="288"/>
                  </a:lnTo>
                  <a:lnTo>
                    <a:pt x="498" y="281"/>
                  </a:lnTo>
                  <a:lnTo>
                    <a:pt x="511" y="276"/>
                  </a:lnTo>
                  <a:lnTo>
                    <a:pt x="526" y="271"/>
                  </a:lnTo>
                  <a:lnTo>
                    <a:pt x="539" y="268"/>
                  </a:lnTo>
                  <a:lnTo>
                    <a:pt x="553" y="264"/>
                  </a:lnTo>
                  <a:lnTo>
                    <a:pt x="568" y="261"/>
                  </a:lnTo>
                  <a:lnTo>
                    <a:pt x="583" y="259"/>
                  </a:lnTo>
                  <a:lnTo>
                    <a:pt x="599" y="258"/>
                  </a:lnTo>
                  <a:lnTo>
                    <a:pt x="614" y="256"/>
                  </a:lnTo>
                  <a:lnTo>
                    <a:pt x="630" y="255"/>
                  </a:lnTo>
                  <a:lnTo>
                    <a:pt x="647" y="256"/>
                  </a:lnTo>
                  <a:lnTo>
                    <a:pt x="662" y="258"/>
                  </a:lnTo>
                  <a:lnTo>
                    <a:pt x="678" y="259"/>
                  </a:lnTo>
                  <a:lnTo>
                    <a:pt x="692" y="261"/>
                  </a:lnTo>
                  <a:lnTo>
                    <a:pt x="708" y="264"/>
                  </a:lnTo>
                  <a:lnTo>
                    <a:pt x="722" y="268"/>
                  </a:lnTo>
                  <a:lnTo>
                    <a:pt x="736" y="271"/>
                  </a:lnTo>
                  <a:lnTo>
                    <a:pt x="750" y="276"/>
                  </a:lnTo>
                  <a:lnTo>
                    <a:pt x="763" y="281"/>
                  </a:lnTo>
                  <a:lnTo>
                    <a:pt x="776" y="288"/>
                  </a:lnTo>
                  <a:lnTo>
                    <a:pt x="789" y="293"/>
                  </a:lnTo>
                  <a:lnTo>
                    <a:pt x="800" y="300"/>
                  </a:lnTo>
                  <a:lnTo>
                    <a:pt x="812" y="308"/>
                  </a:lnTo>
                  <a:lnTo>
                    <a:pt x="823" y="315"/>
                  </a:lnTo>
                  <a:lnTo>
                    <a:pt x="834" y="324"/>
                  </a:lnTo>
                  <a:lnTo>
                    <a:pt x="844" y="333"/>
                  </a:lnTo>
                  <a:lnTo>
                    <a:pt x="854" y="343"/>
                  </a:lnTo>
                  <a:lnTo>
                    <a:pt x="863" y="353"/>
                  </a:lnTo>
                  <a:lnTo>
                    <a:pt x="872" y="363"/>
                  </a:lnTo>
                  <a:lnTo>
                    <a:pt x="880" y="374"/>
                  </a:lnTo>
                  <a:lnTo>
                    <a:pt x="888" y="385"/>
                  </a:lnTo>
                  <a:lnTo>
                    <a:pt x="894" y="398"/>
                  </a:lnTo>
                  <a:lnTo>
                    <a:pt x="901" y="410"/>
                  </a:lnTo>
                  <a:lnTo>
                    <a:pt x="907" y="422"/>
                  </a:lnTo>
                  <a:lnTo>
                    <a:pt x="912" y="435"/>
                  </a:lnTo>
                  <a:lnTo>
                    <a:pt x="917" y="449"/>
                  </a:lnTo>
                  <a:lnTo>
                    <a:pt x="920" y="463"/>
                  </a:lnTo>
                  <a:lnTo>
                    <a:pt x="923" y="478"/>
                  </a:lnTo>
                  <a:lnTo>
                    <a:pt x="925" y="492"/>
                  </a:lnTo>
                  <a:lnTo>
                    <a:pt x="928" y="508"/>
                  </a:lnTo>
                  <a:lnTo>
                    <a:pt x="929" y="523"/>
                  </a:lnTo>
                  <a:lnTo>
                    <a:pt x="929" y="539"/>
                  </a:lnTo>
                  <a:close/>
                  <a:moveTo>
                    <a:pt x="506" y="539"/>
                  </a:moveTo>
                  <a:lnTo>
                    <a:pt x="507" y="552"/>
                  </a:lnTo>
                  <a:lnTo>
                    <a:pt x="509" y="565"/>
                  </a:lnTo>
                  <a:lnTo>
                    <a:pt x="511" y="577"/>
                  </a:lnTo>
                  <a:lnTo>
                    <a:pt x="513" y="584"/>
                  </a:lnTo>
                  <a:lnTo>
                    <a:pt x="516" y="590"/>
                  </a:lnTo>
                  <a:lnTo>
                    <a:pt x="521" y="601"/>
                  </a:lnTo>
                  <a:lnTo>
                    <a:pt x="527" y="611"/>
                  </a:lnTo>
                  <a:lnTo>
                    <a:pt x="534" y="621"/>
                  </a:lnTo>
                  <a:lnTo>
                    <a:pt x="542" y="629"/>
                  </a:lnTo>
                  <a:lnTo>
                    <a:pt x="547" y="633"/>
                  </a:lnTo>
                  <a:lnTo>
                    <a:pt x="551" y="636"/>
                  </a:lnTo>
                  <a:lnTo>
                    <a:pt x="556" y="640"/>
                  </a:lnTo>
                  <a:lnTo>
                    <a:pt x="561" y="643"/>
                  </a:lnTo>
                  <a:lnTo>
                    <a:pt x="571" y="649"/>
                  </a:lnTo>
                  <a:lnTo>
                    <a:pt x="582" y="654"/>
                  </a:lnTo>
                  <a:lnTo>
                    <a:pt x="593" y="657"/>
                  </a:lnTo>
                  <a:lnTo>
                    <a:pt x="606" y="661"/>
                  </a:lnTo>
                  <a:lnTo>
                    <a:pt x="611" y="661"/>
                  </a:lnTo>
                  <a:lnTo>
                    <a:pt x="618" y="662"/>
                  </a:lnTo>
                  <a:lnTo>
                    <a:pt x="630" y="663"/>
                  </a:lnTo>
                  <a:lnTo>
                    <a:pt x="643" y="662"/>
                  </a:lnTo>
                  <a:lnTo>
                    <a:pt x="656" y="661"/>
                  </a:lnTo>
                  <a:lnTo>
                    <a:pt x="668" y="657"/>
                  </a:lnTo>
                  <a:lnTo>
                    <a:pt x="673" y="656"/>
                  </a:lnTo>
                  <a:lnTo>
                    <a:pt x="679" y="654"/>
                  </a:lnTo>
                  <a:lnTo>
                    <a:pt x="690" y="649"/>
                  </a:lnTo>
                  <a:lnTo>
                    <a:pt x="696" y="646"/>
                  </a:lnTo>
                  <a:lnTo>
                    <a:pt x="700" y="643"/>
                  </a:lnTo>
                  <a:lnTo>
                    <a:pt x="706" y="640"/>
                  </a:lnTo>
                  <a:lnTo>
                    <a:pt x="710" y="636"/>
                  </a:lnTo>
                  <a:lnTo>
                    <a:pt x="719" y="629"/>
                  </a:lnTo>
                  <a:lnTo>
                    <a:pt x="727" y="621"/>
                  </a:lnTo>
                  <a:lnTo>
                    <a:pt x="733" y="611"/>
                  </a:lnTo>
                  <a:lnTo>
                    <a:pt x="740" y="601"/>
                  </a:lnTo>
                  <a:lnTo>
                    <a:pt x="742" y="595"/>
                  </a:lnTo>
                  <a:lnTo>
                    <a:pt x="744" y="590"/>
                  </a:lnTo>
                  <a:lnTo>
                    <a:pt x="749" y="577"/>
                  </a:lnTo>
                  <a:lnTo>
                    <a:pt x="752" y="565"/>
                  </a:lnTo>
                  <a:lnTo>
                    <a:pt x="753" y="552"/>
                  </a:lnTo>
                  <a:lnTo>
                    <a:pt x="754" y="539"/>
                  </a:lnTo>
                  <a:lnTo>
                    <a:pt x="753" y="524"/>
                  </a:lnTo>
                  <a:lnTo>
                    <a:pt x="753" y="517"/>
                  </a:lnTo>
                  <a:lnTo>
                    <a:pt x="752" y="511"/>
                  </a:lnTo>
                  <a:lnTo>
                    <a:pt x="749" y="499"/>
                  </a:lnTo>
                  <a:lnTo>
                    <a:pt x="747" y="493"/>
                  </a:lnTo>
                  <a:lnTo>
                    <a:pt x="744" y="488"/>
                  </a:lnTo>
                  <a:lnTo>
                    <a:pt x="740" y="476"/>
                  </a:lnTo>
                  <a:lnTo>
                    <a:pt x="733" y="465"/>
                  </a:lnTo>
                  <a:lnTo>
                    <a:pt x="727" y="456"/>
                  </a:lnTo>
                  <a:lnTo>
                    <a:pt x="719" y="448"/>
                  </a:lnTo>
                  <a:lnTo>
                    <a:pt x="714" y="444"/>
                  </a:lnTo>
                  <a:lnTo>
                    <a:pt x="710" y="440"/>
                  </a:lnTo>
                  <a:lnTo>
                    <a:pt x="706" y="436"/>
                  </a:lnTo>
                  <a:lnTo>
                    <a:pt x="700" y="433"/>
                  </a:lnTo>
                  <a:lnTo>
                    <a:pt x="690" y="428"/>
                  </a:lnTo>
                  <a:lnTo>
                    <a:pt x="679" y="423"/>
                  </a:lnTo>
                  <a:lnTo>
                    <a:pt x="668" y="420"/>
                  </a:lnTo>
                  <a:lnTo>
                    <a:pt x="656" y="416"/>
                  </a:lnTo>
                  <a:lnTo>
                    <a:pt x="643" y="415"/>
                  </a:lnTo>
                  <a:lnTo>
                    <a:pt x="630" y="414"/>
                  </a:lnTo>
                  <a:lnTo>
                    <a:pt x="618" y="415"/>
                  </a:lnTo>
                  <a:lnTo>
                    <a:pt x="606" y="416"/>
                  </a:lnTo>
                  <a:lnTo>
                    <a:pt x="593" y="420"/>
                  </a:lnTo>
                  <a:lnTo>
                    <a:pt x="588" y="421"/>
                  </a:lnTo>
                  <a:lnTo>
                    <a:pt x="582" y="423"/>
                  </a:lnTo>
                  <a:lnTo>
                    <a:pt x="571" y="428"/>
                  </a:lnTo>
                  <a:lnTo>
                    <a:pt x="566" y="431"/>
                  </a:lnTo>
                  <a:lnTo>
                    <a:pt x="561" y="433"/>
                  </a:lnTo>
                  <a:lnTo>
                    <a:pt x="556" y="436"/>
                  </a:lnTo>
                  <a:lnTo>
                    <a:pt x="551" y="440"/>
                  </a:lnTo>
                  <a:lnTo>
                    <a:pt x="542" y="448"/>
                  </a:lnTo>
                  <a:lnTo>
                    <a:pt x="534" y="456"/>
                  </a:lnTo>
                  <a:lnTo>
                    <a:pt x="527" y="465"/>
                  </a:lnTo>
                  <a:lnTo>
                    <a:pt x="521" y="476"/>
                  </a:lnTo>
                  <a:lnTo>
                    <a:pt x="516" y="488"/>
                  </a:lnTo>
                  <a:lnTo>
                    <a:pt x="511" y="499"/>
                  </a:lnTo>
                  <a:lnTo>
                    <a:pt x="509" y="511"/>
                  </a:lnTo>
                  <a:lnTo>
                    <a:pt x="507" y="524"/>
                  </a:lnTo>
                  <a:lnTo>
                    <a:pt x="507" y="531"/>
                  </a:lnTo>
                  <a:lnTo>
                    <a:pt x="506" y="539"/>
                  </a:lnTo>
                  <a:close/>
                  <a:moveTo>
                    <a:pt x="1145" y="175"/>
                  </a:moveTo>
                  <a:lnTo>
                    <a:pt x="959" y="175"/>
                  </a:lnTo>
                  <a:lnTo>
                    <a:pt x="959" y="1"/>
                  </a:lnTo>
                  <a:lnTo>
                    <a:pt x="1145" y="1"/>
                  </a:lnTo>
                  <a:lnTo>
                    <a:pt x="1145" y="175"/>
                  </a:lnTo>
                  <a:close/>
                  <a:moveTo>
                    <a:pt x="965" y="273"/>
                  </a:moveTo>
                  <a:lnTo>
                    <a:pt x="1139" y="273"/>
                  </a:lnTo>
                  <a:lnTo>
                    <a:pt x="1139" y="804"/>
                  </a:lnTo>
                  <a:lnTo>
                    <a:pt x="965" y="804"/>
                  </a:lnTo>
                  <a:lnTo>
                    <a:pt x="965" y="273"/>
                  </a:lnTo>
                  <a:close/>
                  <a:moveTo>
                    <a:pt x="1750" y="475"/>
                  </a:moveTo>
                  <a:lnTo>
                    <a:pt x="1750" y="804"/>
                  </a:lnTo>
                  <a:lnTo>
                    <a:pt x="1578" y="804"/>
                  </a:lnTo>
                  <a:lnTo>
                    <a:pt x="1578" y="523"/>
                  </a:lnTo>
                  <a:lnTo>
                    <a:pt x="1576" y="509"/>
                  </a:lnTo>
                  <a:lnTo>
                    <a:pt x="1575" y="495"/>
                  </a:lnTo>
                  <a:lnTo>
                    <a:pt x="1573" y="483"/>
                  </a:lnTo>
                  <a:lnTo>
                    <a:pt x="1571" y="472"/>
                  </a:lnTo>
                  <a:lnTo>
                    <a:pt x="1568" y="462"/>
                  </a:lnTo>
                  <a:lnTo>
                    <a:pt x="1563" y="452"/>
                  </a:lnTo>
                  <a:lnTo>
                    <a:pt x="1559" y="444"/>
                  </a:lnTo>
                  <a:lnTo>
                    <a:pt x="1555" y="440"/>
                  </a:lnTo>
                  <a:lnTo>
                    <a:pt x="1552" y="436"/>
                  </a:lnTo>
                  <a:lnTo>
                    <a:pt x="1546" y="430"/>
                  </a:lnTo>
                  <a:lnTo>
                    <a:pt x="1539" y="424"/>
                  </a:lnTo>
                  <a:lnTo>
                    <a:pt x="1531" y="420"/>
                  </a:lnTo>
                  <a:lnTo>
                    <a:pt x="1522" y="415"/>
                  </a:lnTo>
                  <a:lnTo>
                    <a:pt x="1512" y="412"/>
                  </a:lnTo>
                  <a:lnTo>
                    <a:pt x="1502" y="410"/>
                  </a:lnTo>
                  <a:lnTo>
                    <a:pt x="1491" y="409"/>
                  </a:lnTo>
                  <a:lnTo>
                    <a:pt x="1480" y="409"/>
                  </a:lnTo>
                  <a:lnTo>
                    <a:pt x="1469" y="409"/>
                  </a:lnTo>
                  <a:lnTo>
                    <a:pt x="1463" y="410"/>
                  </a:lnTo>
                  <a:lnTo>
                    <a:pt x="1459" y="410"/>
                  </a:lnTo>
                  <a:lnTo>
                    <a:pt x="1449" y="412"/>
                  </a:lnTo>
                  <a:lnTo>
                    <a:pt x="1439" y="415"/>
                  </a:lnTo>
                  <a:lnTo>
                    <a:pt x="1430" y="420"/>
                  </a:lnTo>
                  <a:lnTo>
                    <a:pt x="1425" y="422"/>
                  </a:lnTo>
                  <a:lnTo>
                    <a:pt x="1421" y="424"/>
                  </a:lnTo>
                  <a:lnTo>
                    <a:pt x="1413" y="431"/>
                  </a:lnTo>
                  <a:lnTo>
                    <a:pt x="1410" y="434"/>
                  </a:lnTo>
                  <a:lnTo>
                    <a:pt x="1406" y="438"/>
                  </a:lnTo>
                  <a:lnTo>
                    <a:pt x="1403" y="442"/>
                  </a:lnTo>
                  <a:lnTo>
                    <a:pt x="1400" y="445"/>
                  </a:lnTo>
                  <a:lnTo>
                    <a:pt x="1394" y="455"/>
                  </a:lnTo>
                  <a:lnTo>
                    <a:pt x="1389" y="465"/>
                  </a:lnTo>
                  <a:lnTo>
                    <a:pt x="1386" y="471"/>
                  </a:lnTo>
                  <a:lnTo>
                    <a:pt x="1385" y="478"/>
                  </a:lnTo>
                  <a:lnTo>
                    <a:pt x="1383" y="484"/>
                  </a:lnTo>
                  <a:lnTo>
                    <a:pt x="1382" y="491"/>
                  </a:lnTo>
                  <a:lnTo>
                    <a:pt x="1379" y="504"/>
                  </a:lnTo>
                  <a:lnTo>
                    <a:pt x="1378" y="520"/>
                  </a:lnTo>
                  <a:lnTo>
                    <a:pt x="1378" y="537"/>
                  </a:lnTo>
                  <a:lnTo>
                    <a:pt x="1378" y="804"/>
                  </a:lnTo>
                  <a:lnTo>
                    <a:pt x="1203" y="804"/>
                  </a:lnTo>
                  <a:lnTo>
                    <a:pt x="1203" y="273"/>
                  </a:lnTo>
                  <a:lnTo>
                    <a:pt x="1374" y="273"/>
                  </a:lnTo>
                  <a:lnTo>
                    <a:pt x="1374" y="353"/>
                  </a:lnTo>
                  <a:lnTo>
                    <a:pt x="1376" y="353"/>
                  </a:lnTo>
                  <a:lnTo>
                    <a:pt x="1383" y="342"/>
                  </a:lnTo>
                  <a:lnTo>
                    <a:pt x="1391" y="331"/>
                  </a:lnTo>
                  <a:lnTo>
                    <a:pt x="1400" y="321"/>
                  </a:lnTo>
                  <a:lnTo>
                    <a:pt x="1409" y="312"/>
                  </a:lnTo>
                  <a:lnTo>
                    <a:pt x="1418" y="303"/>
                  </a:lnTo>
                  <a:lnTo>
                    <a:pt x="1422" y="299"/>
                  </a:lnTo>
                  <a:lnTo>
                    <a:pt x="1428" y="295"/>
                  </a:lnTo>
                  <a:lnTo>
                    <a:pt x="1438" y="288"/>
                  </a:lnTo>
                  <a:lnTo>
                    <a:pt x="1449" y="281"/>
                  </a:lnTo>
                  <a:lnTo>
                    <a:pt x="1460" y="275"/>
                  </a:lnTo>
                  <a:lnTo>
                    <a:pt x="1472" y="270"/>
                  </a:lnTo>
                  <a:lnTo>
                    <a:pt x="1483" y="265"/>
                  </a:lnTo>
                  <a:lnTo>
                    <a:pt x="1496" y="262"/>
                  </a:lnTo>
                  <a:lnTo>
                    <a:pt x="1509" y="260"/>
                  </a:lnTo>
                  <a:lnTo>
                    <a:pt x="1522" y="258"/>
                  </a:lnTo>
                  <a:lnTo>
                    <a:pt x="1535" y="256"/>
                  </a:lnTo>
                  <a:lnTo>
                    <a:pt x="1550" y="255"/>
                  </a:lnTo>
                  <a:lnTo>
                    <a:pt x="1571" y="256"/>
                  </a:lnTo>
                  <a:lnTo>
                    <a:pt x="1582" y="258"/>
                  </a:lnTo>
                  <a:lnTo>
                    <a:pt x="1592" y="259"/>
                  </a:lnTo>
                  <a:lnTo>
                    <a:pt x="1602" y="261"/>
                  </a:lnTo>
                  <a:lnTo>
                    <a:pt x="1612" y="263"/>
                  </a:lnTo>
                  <a:lnTo>
                    <a:pt x="1621" y="265"/>
                  </a:lnTo>
                  <a:lnTo>
                    <a:pt x="1630" y="269"/>
                  </a:lnTo>
                  <a:lnTo>
                    <a:pt x="1640" y="272"/>
                  </a:lnTo>
                  <a:lnTo>
                    <a:pt x="1647" y="276"/>
                  </a:lnTo>
                  <a:lnTo>
                    <a:pt x="1656" y="281"/>
                  </a:lnTo>
                  <a:lnTo>
                    <a:pt x="1664" y="285"/>
                  </a:lnTo>
                  <a:lnTo>
                    <a:pt x="1672" y="291"/>
                  </a:lnTo>
                  <a:lnTo>
                    <a:pt x="1680" y="296"/>
                  </a:lnTo>
                  <a:lnTo>
                    <a:pt x="1686" y="302"/>
                  </a:lnTo>
                  <a:lnTo>
                    <a:pt x="1693" y="309"/>
                  </a:lnTo>
                  <a:lnTo>
                    <a:pt x="1700" y="315"/>
                  </a:lnTo>
                  <a:lnTo>
                    <a:pt x="1706" y="323"/>
                  </a:lnTo>
                  <a:lnTo>
                    <a:pt x="1712" y="331"/>
                  </a:lnTo>
                  <a:lnTo>
                    <a:pt x="1717" y="339"/>
                  </a:lnTo>
                  <a:lnTo>
                    <a:pt x="1722" y="348"/>
                  </a:lnTo>
                  <a:lnTo>
                    <a:pt x="1726" y="358"/>
                  </a:lnTo>
                  <a:lnTo>
                    <a:pt x="1731" y="366"/>
                  </a:lnTo>
                  <a:lnTo>
                    <a:pt x="1735" y="376"/>
                  </a:lnTo>
                  <a:lnTo>
                    <a:pt x="1739" y="388"/>
                  </a:lnTo>
                  <a:lnTo>
                    <a:pt x="1741" y="399"/>
                  </a:lnTo>
                  <a:lnTo>
                    <a:pt x="1744" y="410"/>
                  </a:lnTo>
                  <a:lnTo>
                    <a:pt x="1745" y="422"/>
                  </a:lnTo>
                  <a:lnTo>
                    <a:pt x="1747" y="434"/>
                  </a:lnTo>
                  <a:lnTo>
                    <a:pt x="1749" y="448"/>
                  </a:lnTo>
                  <a:lnTo>
                    <a:pt x="1750" y="461"/>
                  </a:lnTo>
                  <a:lnTo>
                    <a:pt x="1750" y="475"/>
                  </a:lnTo>
                  <a:close/>
                  <a:moveTo>
                    <a:pt x="2235" y="418"/>
                  </a:moveTo>
                  <a:lnTo>
                    <a:pt x="2235" y="577"/>
                  </a:lnTo>
                  <a:lnTo>
                    <a:pt x="2236" y="594"/>
                  </a:lnTo>
                  <a:lnTo>
                    <a:pt x="2238" y="609"/>
                  </a:lnTo>
                  <a:lnTo>
                    <a:pt x="2240" y="614"/>
                  </a:lnTo>
                  <a:lnTo>
                    <a:pt x="2242" y="620"/>
                  </a:lnTo>
                  <a:lnTo>
                    <a:pt x="2244" y="624"/>
                  </a:lnTo>
                  <a:lnTo>
                    <a:pt x="2247" y="629"/>
                  </a:lnTo>
                  <a:lnTo>
                    <a:pt x="2251" y="632"/>
                  </a:lnTo>
                  <a:lnTo>
                    <a:pt x="2255" y="635"/>
                  </a:lnTo>
                  <a:lnTo>
                    <a:pt x="2260" y="637"/>
                  </a:lnTo>
                  <a:lnTo>
                    <a:pt x="2265" y="640"/>
                  </a:lnTo>
                  <a:lnTo>
                    <a:pt x="2271" y="641"/>
                  </a:lnTo>
                  <a:lnTo>
                    <a:pt x="2277" y="642"/>
                  </a:lnTo>
                  <a:lnTo>
                    <a:pt x="2285" y="643"/>
                  </a:lnTo>
                  <a:lnTo>
                    <a:pt x="2293" y="643"/>
                  </a:lnTo>
                  <a:lnTo>
                    <a:pt x="2313" y="643"/>
                  </a:lnTo>
                  <a:lnTo>
                    <a:pt x="2313" y="804"/>
                  </a:lnTo>
                  <a:lnTo>
                    <a:pt x="2240" y="804"/>
                  </a:lnTo>
                  <a:lnTo>
                    <a:pt x="2221" y="803"/>
                  </a:lnTo>
                  <a:lnTo>
                    <a:pt x="2211" y="803"/>
                  </a:lnTo>
                  <a:lnTo>
                    <a:pt x="2202" y="802"/>
                  </a:lnTo>
                  <a:lnTo>
                    <a:pt x="2184" y="799"/>
                  </a:lnTo>
                  <a:lnTo>
                    <a:pt x="2166" y="794"/>
                  </a:lnTo>
                  <a:lnTo>
                    <a:pt x="2158" y="791"/>
                  </a:lnTo>
                  <a:lnTo>
                    <a:pt x="2151" y="787"/>
                  </a:lnTo>
                  <a:lnTo>
                    <a:pt x="2143" y="784"/>
                  </a:lnTo>
                  <a:lnTo>
                    <a:pt x="2136" y="781"/>
                  </a:lnTo>
                  <a:lnTo>
                    <a:pt x="2130" y="776"/>
                  </a:lnTo>
                  <a:lnTo>
                    <a:pt x="2123" y="772"/>
                  </a:lnTo>
                  <a:lnTo>
                    <a:pt x="2116" y="767"/>
                  </a:lnTo>
                  <a:lnTo>
                    <a:pt x="2111" y="762"/>
                  </a:lnTo>
                  <a:lnTo>
                    <a:pt x="2105" y="756"/>
                  </a:lnTo>
                  <a:lnTo>
                    <a:pt x="2100" y="751"/>
                  </a:lnTo>
                  <a:lnTo>
                    <a:pt x="2090" y="737"/>
                  </a:lnTo>
                  <a:lnTo>
                    <a:pt x="2085" y="730"/>
                  </a:lnTo>
                  <a:lnTo>
                    <a:pt x="2082" y="723"/>
                  </a:lnTo>
                  <a:lnTo>
                    <a:pt x="2075" y="706"/>
                  </a:lnTo>
                  <a:lnTo>
                    <a:pt x="2070" y="689"/>
                  </a:lnTo>
                  <a:lnTo>
                    <a:pt x="2067" y="679"/>
                  </a:lnTo>
                  <a:lnTo>
                    <a:pt x="2065" y="669"/>
                  </a:lnTo>
                  <a:lnTo>
                    <a:pt x="2064" y="659"/>
                  </a:lnTo>
                  <a:lnTo>
                    <a:pt x="2063" y="647"/>
                  </a:lnTo>
                  <a:lnTo>
                    <a:pt x="2062" y="636"/>
                  </a:lnTo>
                  <a:lnTo>
                    <a:pt x="2062" y="624"/>
                  </a:lnTo>
                  <a:lnTo>
                    <a:pt x="2062" y="418"/>
                  </a:lnTo>
                  <a:lnTo>
                    <a:pt x="1959" y="418"/>
                  </a:lnTo>
                  <a:lnTo>
                    <a:pt x="1959" y="273"/>
                  </a:lnTo>
                  <a:lnTo>
                    <a:pt x="2062" y="273"/>
                  </a:lnTo>
                  <a:lnTo>
                    <a:pt x="2062" y="60"/>
                  </a:lnTo>
                  <a:lnTo>
                    <a:pt x="2235" y="60"/>
                  </a:lnTo>
                  <a:lnTo>
                    <a:pt x="2235" y="273"/>
                  </a:lnTo>
                  <a:lnTo>
                    <a:pt x="2345" y="273"/>
                  </a:lnTo>
                  <a:lnTo>
                    <a:pt x="2345" y="418"/>
                  </a:lnTo>
                  <a:lnTo>
                    <a:pt x="2235" y="418"/>
                  </a:lnTo>
                  <a:close/>
                  <a:moveTo>
                    <a:pt x="2556" y="343"/>
                  </a:moveTo>
                  <a:lnTo>
                    <a:pt x="2558" y="343"/>
                  </a:lnTo>
                  <a:lnTo>
                    <a:pt x="2565" y="333"/>
                  </a:lnTo>
                  <a:lnTo>
                    <a:pt x="2573" y="323"/>
                  </a:lnTo>
                  <a:lnTo>
                    <a:pt x="2581" y="314"/>
                  </a:lnTo>
                  <a:lnTo>
                    <a:pt x="2585" y="310"/>
                  </a:lnTo>
                  <a:lnTo>
                    <a:pt x="2589" y="305"/>
                  </a:lnTo>
                  <a:lnTo>
                    <a:pt x="2598" y="298"/>
                  </a:lnTo>
                  <a:lnTo>
                    <a:pt x="2608" y="291"/>
                  </a:lnTo>
                  <a:lnTo>
                    <a:pt x="2618" y="284"/>
                  </a:lnTo>
                  <a:lnTo>
                    <a:pt x="2628" y="279"/>
                  </a:lnTo>
                  <a:lnTo>
                    <a:pt x="2639" y="273"/>
                  </a:lnTo>
                  <a:lnTo>
                    <a:pt x="2651" y="269"/>
                  </a:lnTo>
                  <a:lnTo>
                    <a:pt x="2663" y="264"/>
                  </a:lnTo>
                  <a:lnTo>
                    <a:pt x="2675" y="261"/>
                  </a:lnTo>
                  <a:lnTo>
                    <a:pt x="2687" y="259"/>
                  </a:lnTo>
                  <a:lnTo>
                    <a:pt x="2694" y="258"/>
                  </a:lnTo>
                  <a:lnTo>
                    <a:pt x="2701" y="258"/>
                  </a:lnTo>
                  <a:lnTo>
                    <a:pt x="2714" y="256"/>
                  </a:lnTo>
                  <a:lnTo>
                    <a:pt x="2728" y="255"/>
                  </a:lnTo>
                  <a:lnTo>
                    <a:pt x="2749" y="256"/>
                  </a:lnTo>
                  <a:lnTo>
                    <a:pt x="2760" y="258"/>
                  </a:lnTo>
                  <a:lnTo>
                    <a:pt x="2770" y="259"/>
                  </a:lnTo>
                  <a:lnTo>
                    <a:pt x="2780" y="261"/>
                  </a:lnTo>
                  <a:lnTo>
                    <a:pt x="2790" y="263"/>
                  </a:lnTo>
                  <a:lnTo>
                    <a:pt x="2799" y="265"/>
                  </a:lnTo>
                  <a:lnTo>
                    <a:pt x="2809" y="269"/>
                  </a:lnTo>
                  <a:lnTo>
                    <a:pt x="2818" y="272"/>
                  </a:lnTo>
                  <a:lnTo>
                    <a:pt x="2826" y="276"/>
                  </a:lnTo>
                  <a:lnTo>
                    <a:pt x="2835" y="281"/>
                  </a:lnTo>
                  <a:lnTo>
                    <a:pt x="2843" y="285"/>
                  </a:lnTo>
                  <a:lnTo>
                    <a:pt x="2850" y="291"/>
                  </a:lnTo>
                  <a:lnTo>
                    <a:pt x="2858" y="296"/>
                  </a:lnTo>
                  <a:lnTo>
                    <a:pt x="2865" y="302"/>
                  </a:lnTo>
                  <a:lnTo>
                    <a:pt x="2872" y="309"/>
                  </a:lnTo>
                  <a:lnTo>
                    <a:pt x="2878" y="315"/>
                  </a:lnTo>
                  <a:lnTo>
                    <a:pt x="2885" y="323"/>
                  </a:lnTo>
                  <a:lnTo>
                    <a:pt x="2890" y="331"/>
                  </a:lnTo>
                  <a:lnTo>
                    <a:pt x="2896" y="339"/>
                  </a:lnTo>
                  <a:lnTo>
                    <a:pt x="2900" y="348"/>
                  </a:lnTo>
                  <a:lnTo>
                    <a:pt x="2905" y="358"/>
                  </a:lnTo>
                  <a:lnTo>
                    <a:pt x="2909" y="366"/>
                  </a:lnTo>
                  <a:lnTo>
                    <a:pt x="2914" y="376"/>
                  </a:lnTo>
                  <a:lnTo>
                    <a:pt x="2917" y="388"/>
                  </a:lnTo>
                  <a:lnTo>
                    <a:pt x="2919" y="399"/>
                  </a:lnTo>
                  <a:lnTo>
                    <a:pt x="2923" y="410"/>
                  </a:lnTo>
                  <a:lnTo>
                    <a:pt x="2925" y="422"/>
                  </a:lnTo>
                  <a:lnTo>
                    <a:pt x="2926" y="434"/>
                  </a:lnTo>
                  <a:lnTo>
                    <a:pt x="2927" y="448"/>
                  </a:lnTo>
                  <a:lnTo>
                    <a:pt x="2928" y="461"/>
                  </a:lnTo>
                  <a:lnTo>
                    <a:pt x="2928" y="475"/>
                  </a:lnTo>
                  <a:lnTo>
                    <a:pt x="2928" y="804"/>
                  </a:lnTo>
                  <a:lnTo>
                    <a:pt x="2755" y="804"/>
                  </a:lnTo>
                  <a:lnTo>
                    <a:pt x="2755" y="523"/>
                  </a:lnTo>
                  <a:lnTo>
                    <a:pt x="2754" y="509"/>
                  </a:lnTo>
                  <a:lnTo>
                    <a:pt x="2753" y="495"/>
                  </a:lnTo>
                  <a:lnTo>
                    <a:pt x="2752" y="483"/>
                  </a:lnTo>
                  <a:lnTo>
                    <a:pt x="2748" y="472"/>
                  </a:lnTo>
                  <a:lnTo>
                    <a:pt x="2745" y="462"/>
                  </a:lnTo>
                  <a:lnTo>
                    <a:pt x="2741" y="452"/>
                  </a:lnTo>
                  <a:lnTo>
                    <a:pt x="2738" y="448"/>
                  </a:lnTo>
                  <a:lnTo>
                    <a:pt x="2736" y="444"/>
                  </a:lnTo>
                  <a:lnTo>
                    <a:pt x="2733" y="440"/>
                  </a:lnTo>
                  <a:lnTo>
                    <a:pt x="2731" y="436"/>
                  </a:lnTo>
                  <a:lnTo>
                    <a:pt x="2724" y="430"/>
                  </a:lnTo>
                  <a:lnTo>
                    <a:pt x="2716" y="424"/>
                  </a:lnTo>
                  <a:lnTo>
                    <a:pt x="2708" y="420"/>
                  </a:lnTo>
                  <a:lnTo>
                    <a:pt x="2699" y="415"/>
                  </a:lnTo>
                  <a:lnTo>
                    <a:pt x="2691" y="412"/>
                  </a:lnTo>
                  <a:lnTo>
                    <a:pt x="2681" y="410"/>
                  </a:lnTo>
                  <a:lnTo>
                    <a:pt x="2669" y="409"/>
                  </a:lnTo>
                  <a:lnTo>
                    <a:pt x="2658" y="409"/>
                  </a:lnTo>
                  <a:lnTo>
                    <a:pt x="2647" y="409"/>
                  </a:lnTo>
                  <a:lnTo>
                    <a:pt x="2642" y="410"/>
                  </a:lnTo>
                  <a:lnTo>
                    <a:pt x="2637" y="410"/>
                  </a:lnTo>
                  <a:lnTo>
                    <a:pt x="2627" y="412"/>
                  </a:lnTo>
                  <a:lnTo>
                    <a:pt x="2617" y="415"/>
                  </a:lnTo>
                  <a:lnTo>
                    <a:pt x="2608" y="420"/>
                  </a:lnTo>
                  <a:lnTo>
                    <a:pt x="2604" y="422"/>
                  </a:lnTo>
                  <a:lnTo>
                    <a:pt x="2599" y="424"/>
                  </a:lnTo>
                  <a:lnTo>
                    <a:pt x="2592" y="431"/>
                  </a:lnTo>
                  <a:lnTo>
                    <a:pt x="2588" y="434"/>
                  </a:lnTo>
                  <a:lnTo>
                    <a:pt x="2585" y="438"/>
                  </a:lnTo>
                  <a:lnTo>
                    <a:pt x="2582" y="442"/>
                  </a:lnTo>
                  <a:lnTo>
                    <a:pt x="2578" y="445"/>
                  </a:lnTo>
                  <a:lnTo>
                    <a:pt x="2573" y="455"/>
                  </a:lnTo>
                  <a:lnTo>
                    <a:pt x="2567" y="465"/>
                  </a:lnTo>
                  <a:lnTo>
                    <a:pt x="2566" y="471"/>
                  </a:lnTo>
                  <a:lnTo>
                    <a:pt x="2564" y="478"/>
                  </a:lnTo>
                  <a:lnTo>
                    <a:pt x="2562" y="484"/>
                  </a:lnTo>
                  <a:lnTo>
                    <a:pt x="2561" y="491"/>
                  </a:lnTo>
                  <a:lnTo>
                    <a:pt x="2558" y="504"/>
                  </a:lnTo>
                  <a:lnTo>
                    <a:pt x="2556" y="520"/>
                  </a:lnTo>
                  <a:lnTo>
                    <a:pt x="2556" y="537"/>
                  </a:lnTo>
                  <a:lnTo>
                    <a:pt x="2556" y="804"/>
                  </a:lnTo>
                  <a:lnTo>
                    <a:pt x="2383" y="804"/>
                  </a:lnTo>
                  <a:lnTo>
                    <a:pt x="2383" y="0"/>
                  </a:lnTo>
                  <a:lnTo>
                    <a:pt x="2556" y="0"/>
                  </a:lnTo>
                  <a:lnTo>
                    <a:pt x="2556" y="343"/>
                  </a:lnTo>
                  <a:close/>
                  <a:moveTo>
                    <a:pt x="3506" y="541"/>
                  </a:moveTo>
                  <a:lnTo>
                    <a:pt x="3506" y="580"/>
                  </a:lnTo>
                  <a:lnTo>
                    <a:pt x="3125" y="580"/>
                  </a:lnTo>
                  <a:lnTo>
                    <a:pt x="3128" y="592"/>
                  </a:lnTo>
                  <a:lnTo>
                    <a:pt x="3131" y="603"/>
                  </a:lnTo>
                  <a:lnTo>
                    <a:pt x="3136" y="613"/>
                  </a:lnTo>
                  <a:lnTo>
                    <a:pt x="3141" y="623"/>
                  </a:lnTo>
                  <a:lnTo>
                    <a:pt x="3147" y="632"/>
                  </a:lnTo>
                  <a:lnTo>
                    <a:pt x="3155" y="640"/>
                  </a:lnTo>
                  <a:lnTo>
                    <a:pt x="3163" y="646"/>
                  </a:lnTo>
                  <a:lnTo>
                    <a:pt x="3170" y="653"/>
                  </a:lnTo>
                  <a:lnTo>
                    <a:pt x="3180" y="659"/>
                  </a:lnTo>
                  <a:lnTo>
                    <a:pt x="3189" y="663"/>
                  </a:lnTo>
                  <a:lnTo>
                    <a:pt x="3200" y="667"/>
                  </a:lnTo>
                  <a:lnTo>
                    <a:pt x="3211" y="671"/>
                  </a:lnTo>
                  <a:lnTo>
                    <a:pt x="3223" y="673"/>
                  </a:lnTo>
                  <a:lnTo>
                    <a:pt x="3229" y="674"/>
                  </a:lnTo>
                  <a:lnTo>
                    <a:pt x="3235" y="675"/>
                  </a:lnTo>
                  <a:lnTo>
                    <a:pt x="3248" y="676"/>
                  </a:lnTo>
                  <a:lnTo>
                    <a:pt x="3260" y="676"/>
                  </a:lnTo>
                  <a:lnTo>
                    <a:pt x="3273" y="676"/>
                  </a:lnTo>
                  <a:lnTo>
                    <a:pt x="3285" y="675"/>
                  </a:lnTo>
                  <a:lnTo>
                    <a:pt x="3296" y="674"/>
                  </a:lnTo>
                  <a:lnTo>
                    <a:pt x="3307" y="672"/>
                  </a:lnTo>
                  <a:lnTo>
                    <a:pt x="3318" y="670"/>
                  </a:lnTo>
                  <a:lnTo>
                    <a:pt x="3329" y="666"/>
                  </a:lnTo>
                  <a:lnTo>
                    <a:pt x="3349" y="661"/>
                  </a:lnTo>
                  <a:lnTo>
                    <a:pt x="3359" y="656"/>
                  </a:lnTo>
                  <a:lnTo>
                    <a:pt x="3368" y="653"/>
                  </a:lnTo>
                  <a:lnTo>
                    <a:pt x="3377" y="649"/>
                  </a:lnTo>
                  <a:lnTo>
                    <a:pt x="3386" y="645"/>
                  </a:lnTo>
                  <a:lnTo>
                    <a:pt x="3401" y="636"/>
                  </a:lnTo>
                  <a:lnTo>
                    <a:pt x="3415" y="627"/>
                  </a:lnTo>
                  <a:lnTo>
                    <a:pt x="3478" y="759"/>
                  </a:lnTo>
                  <a:lnTo>
                    <a:pt x="3467" y="765"/>
                  </a:lnTo>
                  <a:lnTo>
                    <a:pt x="3456" y="772"/>
                  </a:lnTo>
                  <a:lnTo>
                    <a:pt x="3445" y="777"/>
                  </a:lnTo>
                  <a:lnTo>
                    <a:pt x="3433" y="783"/>
                  </a:lnTo>
                  <a:lnTo>
                    <a:pt x="3408" y="794"/>
                  </a:lnTo>
                  <a:lnTo>
                    <a:pt x="3395" y="799"/>
                  </a:lnTo>
                  <a:lnTo>
                    <a:pt x="3381" y="803"/>
                  </a:lnTo>
                  <a:lnTo>
                    <a:pt x="3367" y="807"/>
                  </a:lnTo>
                  <a:lnTo>
                    <a:pt x="3353" y="811"/>
                  </a:lnTo>
                  <a:lnTo>
                    <a:pt x="3338" y="814"/>
                  </a:lnTo>
                  <a:lnTo>
                    <a:pt x="3324" y="816"/>
                  </a:lnTo>
                  <a:lnTo>
                    <a:pt x="3308" y="819"/>
                  </a:lnTo>
                  <a:lnTo>
                    <a:pt x="3291" y="820"/>
                  </a:lnTo>
                  <a:lnTo>
                    <a:pt x="3276" y="821"/>
                  </a:lnTo>
                  <a:lnTo>
                    <a:pt x="3258" y="821"/>
                  </a:lnTo>
                  <a:lnTo>
                    <a:pt x="3243" y="821"/>
                  </a:lnTo>
                  <a:lnTo>
                    <a:pt x="3226" y="820"/>
                  </a:lnTo>
                  <a:lnTo>
                    <a:pt x="3210" y="819"/>
                  </a:lnTo>
                  <a:lnTo>
                    <a:pt x="3195" y="816"/>
                  </a:lnTo>
                  <a:lnTo>
                    <a:pt x="3179" y="813"/>
                  </a:lnTo>
                  <a:lnTo>
                    <a:pt x="3165" y="810"/>
                  </a:lnTo>
                  <a:lnTo>
                    <a:pt x="3150" y="805"/>
                  </a:lnTo>
                  <a:lnTo>
                    <a:pt x="3137" y="801"/>
                  </a:lnTo>
                  <a:lnTo>
                    <a:pt x="3124" y="796"/>
                  </a:lnTo>
                  <a:lnTo>
                    <a:pt x="3110" y="790"/>
                  </a:lnTo>
                  <a:lnTo>
                    <a:pt x="3098" y="784"/>
                  </a:lnTo>
                  <a:lnTo>
                    <a:pt x="3087" y="777"/>
                  </a:lnTo>
                  <a:lnTo>
                    <a:pt x="3080" y="773"/>
                  </a:lnTo>
                  <a:lnTo>
                    <a:pt x="3075" y="770"/>
                  </a:lnTo>
                  <a:lnTo>
                    <a:pt x="3064" y="762"/>
                  </a:lnTo>
                  <a:lnTo>
                    <a:pt x="3054" y="753"/>
                  </a:lnTo>
                  <a:lnTo>
                    <a:pt x="3044" y="744"/>
                  </a:lnTo>
                  <a:lnTo>
                    <a:pt x="3034" y="735"/>
                  </a:lnTo>
                  <a:lnTo>
                    <a:pt x="3025" y="725"/>
                  </a:lnTo>
                  <a:lnTo>
                    <a:pt x="3017" y="714"/>
                  </a:lnTo>
                  <a:lnTo>
                    <a:pt x="3009" y="704"/>
                  </a:lnTo>
                  <a:lnTo>
                    <a:pt x="3002" y="692"/>
                  </a:lnTo>
                  <a:lnTo>
                    <a:pt x="2995" y="681"/>
                  </a:lnTo>
                  <a:lnTo>
                    <a:pt x="2989" y="669"/>
                  </a:lnTo>
                  <a:lnTo>
                    <a:pt x="2984" y="655"/>
                  </a:lnTo>
                  <a:lnTo>
                    <a:pt x="2978" y="643"/>
                  </a:lnTo>
                  <a:lnTo>
                    <a:pt x="2974" y="630"/>
                  </a:lnTo>
                  <a:lnTo>
                    <a:pt x="2970" y="615"/>
                  </a:lnTo>
                  <a:lnTo>
                    <a:pt x="2967" y="601"/>
                  </a:lnTo>
                  <a:lnTo>
                    <a:pt x="2965" y="586"/>
                  </a:lnTo>
                  <a:lnTo>
                    <a:pt x="2964" y="572"/>
                  </a:lnTo>
                  <a:lnTo>
                    <a:pt x="2963" y="556"/>
                  </a:lnTo>
                  <a:lnTo>
                    <a:pt x="2963" y="541"/>
                  </a:lnTo>
                  <a:lnTo>
                    <a:pt x="2963" y="524"/>
                  </a:lnTo>
                  <a:lnTo>
                    <a:pt x="2964" y="508"/>
                  </a:lnTo>
                  <a:lnTo>
                    <a:pt x="2965" y="492"/>
                  </a:lnTo>
                  <a:lnTo>
                    <a:pt x="2967" y="478"/>
                  </a:lnTo>
                  <a:lnTo>
                    <a:pt x="2970" y="462"/>
                  </a:lnTo>
                  <a:lnTo>
                    <a:pt x="2974" y="448"/>
                  </a:lnTo>
                  <a:lnTo>
                    <a:pt x="2978" y="434"/>
                  </a:lnTo>
                  <a:lnTo>
                    <a:pt x="2983" y="421"/>
                  </a:lnTo>
                  <a:lnTo>
                    <a:pt x="2988" y="408"/>
                  </a:lnTo>
                  <a:lnTo>
                    <a:pt x="2994" y="395"/>
                  </a:lnTo>
                  <a:lnTo>
                    <a:pt x="3000" y="383"/>
                  </a:lnTo>
                  <a:lnTo>
                    <a:pt x="3008" y="372"/>
                  </a:lnTo>
                  <a:lnTo>
                    <a:pt x="3015" y="361"/>
                  </a:lnTo>
                  <a:lnTo>
                    <a:pt x="3024" y="351"/>
                  </a:lnTo>
                  <a:lnTo>
                    <a:pt x="3032" y="341"/>
                  </a:lnTo>
                  <a:lnTo>
                    <a:pt x="3042" y="332"/>
                  </a:lnTo>
                  <a:lnTo>
                    <a:pt x="3050" y="323"/>
                  </a:lnTo>
                  <a:lnTo>
                    <a:pt x="3060" y="314"/>
                  </a:lnTo>
                  <a:lnTo>
                    <a:pt x="3072" y="306"/>
                  </a:lnTo>
                  <a:lnTo>
                    <a:pt x="3083" y="300"/>
                  </a:lnTo>
                  <a:lnTo>
                    <a:pt x="3094" y="293"/>
                  </a:lnTo>
                  <a:lnTo>
                    <a:pt x="3105" y="286"/>
                  </a:lnTo>
                  <a:lnTo>
                    <a:pt x="3117" y="281"/>
                  </a:lnTo>
                  <a:lnTo>
                    <a:pt x="3130" y="276"/>
                  </a:lnTo>
                  <a:lnTo>
                    <a:pt x="3143" y="272"/>
                  </a:lnTo>
                  <a:lnTo>
                    <a:pt x="3156" y="268"/>
                  </a:lnTo>
                  <a:lnTo>
                    <a:pt x="3169" y="264"/>
                  </a:lnTo>
                  <a:lnTo>
                    <a:pt x="3184" y="262"/>
                  </a:lnTo>
                  <a:lnTo>
                    <a:pt x="3198" y="260"/>
                  </a:lnTo>
                  <a:lnTo>
                    <a:pt x="3213" y="258"/>
                  </a:lnTo>
                  <a:lnTo>
                    <a:pt x="3227" y="258"/>
                  </a:lnTo>
                  <a:lnTo>
                    <a:pt x="3243" y="256"/>
                  </a:lnTo>
                  <a:lnTo>
                    <a:pt x="3257" y="258"/>
                  </a:lnTo>
                  <a:lnTo>
                    <a:pt x="3271" y="258"/>
                  </a:lnTo>
                  <a:lnTo>
                    <a:pt x="3286" y="260"/>
                  </a:lnTo>
                  <a:lnTo>
                    <a:pt x="3299" y="261"/>
                  </a:lnTo>
                  <a:lnTo>
                    <a:pt x="3313" y="263"/>
                  </a:lnTo>
                  <a:lnTo>
                    <a:pt x="3326" y="266"/>
                  </a:lnTo>
                  <a:lnTo>
                    <a:pt x="3339" y="270"/>
                  </a:lnTo>
                  <a:lnTo>
                    <a:pt x="3345" y="272"/>
                  </a:lnTo>
                  <a:lnTo>
                    <a:pt x="3351" y="274"/>
                  </a:lnTo>
                  <a:lnTo>
                    <a:pt x="3363" y="279"/>
                  </a:lnTo>
                  <a:lnTo>
                    <a:pt x="3375" y="284"/>
                  </a:lnTo>
                  <a:lnTo>
                    <a:pt x="3386" y="290"/>
                  </a:lnTo>
                  <a:lnTo>
                    <a:pt x="3396" y="296"/>
                  </a:lnTo>
                  <a:lnTo>
                    <a:pt x="3406" y="303"/>
                  </a:lnTo>
                  <a:lnTo>
                    <a:pt x="3411" y="306"/>
                  </a:lnTo>
                  <a:lnTo>
                    <a:pt x="3416" y="311"/>
                  </a:lnTo>
                  <a:lnTo>
                    <a:pt x="3425" y="319"/>
                  </a:lnTo>
                  <a:lnTo>
                    <a:pt x="3434" y="326"/>
                  </a:lnTo>
                  <a:lnTo>
                    <a:pt x="3443" y="336"/>
                  </a:lnTo>
                  <a:lnTo>
                    <a:pt x="3450" y="345"/>
                  </a:lnTo>
                  <a:lnTo>
                    <a:pt x="3458" y="355"/>
                  </a:lnTo>
                  <a:lnTo>
                    <a:pt x="3465" y="366"/>
                  </a:lnTo>
                  <a:lnTo>
                    <a:pt x="3471" y="378"/>
                  </a:lnTo>
                  <a:lnTo>
                    <a:pt x="3477" y="390"/>
                  </a:lnTo>
                  <a:lnTo>
                    <a:pt x="3483" y="402"/>
                  </a:lnTo>
                  <a:lnTo>
                    <a:pt x="3487" y="415"/>
                  </a:lnTo>
                  <a:lnTo>
                    <a:pt x="3489" y="422"/>
                  </a:lnTo>
                  <a:lnTo>
                    <a:pt x="3491" y="429"/>
                  </a:lnTo>
                  <a:lnTo>
                    <a:pt x="3495" y="443"/>
                  </a:lnTo>
                  <a:lnTo>
                    <a:pt x="3498" y="458"/>
                  </a:lnTo>
                  <a:lnTo>
                    <a:pt x="3501" y="473"/>
                  </a:lnTo>
                  <a:lnTo>
                    <a:pt x="3502" y="490"/>
                  </a:lnTo>
                  <a:lnTo>
                    <a:pt x="3505" y="506"/>
                  </a:lnTo>
                  <a:lnTo>
                    <a:pt x="3506" y="523"/>
                  </a:lnTo>
                  <a:lnTo>
                    <a:pt x="3506" y="541"/>
                  </a:lnTo>
                  <a:close/>
                  <a:moveTo>
                    <a:pt x="3126" y="478"/>
                  </a:moveTo>
                  <a:lnTo>
                    <a:pt x="3338" y="478"/>
                  </a:lnTo>
                  <a:lnTo>
                    <a:pt x="3337" y="466"/>
                  </a:lnTo>
                  <a:lnTo>
                    <a:pt x="3335" y="455"/>
                  </a:lnTo>
                  <a:lnTo>
                    <a:pt x="3333" y="445"/>
                  </a:lnTo>
                  <a:lnTo>
                    <a:pt x="3329" y="436"/>
                  </a:lnTo>
                  <a:lnTo>
                    <a:pt x="3325" y="428"/>
                  </a:lnTo>
                  <a:lnTo>
                    <a:pt x="3319" y="420"/>
                  </a:lnTo>
                  <a:lnTo>
                    <a:pt x="3317" y="415"/>
                  </a:lnTo>
                  <a:lnTo>
                    <a:pt x="3314" y="412"/>
                  </a:lnTo>
                  <a:lnTo>
                    <a:pt x="3308" y="405"/>
                  </a:lnTo>
                  <a:lnTo>
                    <a:pt x="3300" y="400"/>
                  </a:lnTo>
                  <a:lnTo>
                    <a:pt x="3293" y="394"/>
                  </a:lnTo>
                  <a:lnTo>
                    <a:pt x="3285" y="390"/>
                  </a:lnTo>
                  <a:lnTo>
                    <a:pt x="3276" y="386"/>
                  </a:lnTo>
                  <a:lnTo>
                    <a:pt x="3267" y="383"/>
                  </a:lnTo>
                  <a:lnTo>
                    <a:pt x="3257" y="382"/>
                  </a:lnTo>
                  <a:lnTo>
                    <a:pt x="3247" y="380"/>
                  </a:lnTo>
                  <a:lnTo>
                    <a:pt x="3237" y="380"/>
                  </a:lnTo>
                  <a:lnTo>
                    <a:pt x="3226" y="380"/>
                  </a:lnTo>
                  <a:lnTo>
                    <a:pt x="3216" y="381"/>
                  </a:lnTo>
                  <a:lnTo>
                    <a:pt x="3206" y="383"/>
                  </a:lnTo>
                  <a:lnTo>
                    <a:pt x="3196" y="385"/>
                  </a:lnTo>
                  <a:lnTo>
                    <a:pt x="3187" y="389"/>
                  </a:lnTo>
                  <a:lnTo>
                    <a:pt x="3178" y="393"/>
                  </a:lnTo>
                  <a:lnTo>
                    <a:pt x="3170" y="398"/>
                  </a:lnTo>
                  <a:lnTo>
                    <a:pt x="3163" y="403"/>
                  </a:lnTo>
                  <a:lnTo>
                    <a:pt x="3156" y="409"/>
                  </a:lnTo>
                  <a:lnTo>
                    <a:pt x="3149" y="416"/>
                  </a:lnTo>
                  <a:lnTo>
                    <a:pt x="3144" y="424"/>
                  </a:lnTo>
                  <a:lnTo>
                    <a:pt x="3139" y="433"/>
                  </a:lnTo>
                  <a:lnTo>
                    <a:pt x="3137" y="438"/>
                  </a:lnTo>
                  <a:lnTo>
                    <a:pt x="3135" y="443"/>
                  </a:lnTo>
                  <a:lnTo>
                    <a:pt x="3131" y="453"/>
                  </a:lnTo>
                  <a:lnTo>
                    <a:pt x="3128" y="465"/>
                  </a:lnTo>
                  <a:lnTo>
                    <a:pt x="3126" y="4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41568202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3" name="Gruppieren 6"/>
          <p:cNvGrpSpPr/>
          <p:nvPr userDrawn="1"/>
        </p:nvGrpSpPr>
        <p:grpSpPr>
          <a:xfrm>
            <a:off x="0" y="1"/>
            <a:ext cx="12192000" cy="6861907"/>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p:spPr>
          <p:txBody>
            <a:bodyPr wrap="square" lIns="108000" tIns="54000" rIns="108000" bIns="54000" numCol="1" spcCol="72000" rtlCol="0" anchor="ctr">
              <a:noAutofit/>
            </a:bodyPr>
            <a:lstStyle/>
            <a:p>
              <a:pPr algn="ctr" eaLnBrk="1">
                <a:lnSpc>
                  <a:spcPct val="110000"/>
                </a:lnSpc>
                <a:spcBef>
                  <a:spcPct val="0"/>
                </a:spcBef>
                <a:buFont typeface="Wingdings" charset="0"/>
                <a:buNone/>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gs>
                <a:gs pos="50000">
                  <a:srgbClr val="009999"/>
                </a:gs>
                <a:gs pos="0">
                  <a:srgbClr val="50BEBE"/>
                </a:gs>
                <a:gs pos="100000">
                  <a:srgbClr val="0099CB"/>
                </a:gs>
              </a:gsLst>
              <a:lin ang="0" scaled="0"/>
            </a:gradFill>
            <a:ln>
              <a:noFill/>
            </a:ln>
            <a:effectLst/>
          </p:spPr>
          <p:txBody>
            <a:bodyPr wrap="square" lIns="108000" tIns="54000" rIns="108000" bIns="54000" numCol="1" spcCol="72000" rtlCol="0" anchor="ctr">
              <a:noAutofit/>
            </a:bodyPr>
            <a:lstStyle/>
            <a:p>
              <a:pPr algn="ctr" eaLnBrk="1">
                <a:lnSpc>
                  <a:spcPct val="110000"/>
                </a:lnSpc>
                <a:spcBef>
                  <a:spcPct val="0"/>
                </a:spcBef>
                <a:buFont typeface="Wingdings" charset="0"/>
                <a:buNone/>
              </a:pPr>
              <a:endParaRPr lang="en-US" sz="1799" dirty="0">
                <a:solidFill>
                  <a:srgbClr val="000000"/>
                </a:solidFill>
                <a:latin typeface="Arial"/>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de-DE"/>
              <a:t>Mastertitelformat bearbeiten</a:t>
            </a:r>
            <a:endParaRPr lang="en-US" dirty="0"/>
          </a:p>
        </p:txBody>
      </p:sp>
    </p:spTree>
    <p:extLst>
      <p:ext uri="{BB962C8B-B14F-4D97-AF65-F5344CB8AC3E}">
        <p14:creationId xmlns:p14="http://schemas.microsoft.com/office/powerpoint/2010/main" val="1046508135"/>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_slide_picture">
    <p:spTree>
      <p:nvGrpSpPr>
        <p:cNvPr id="1" name=""/>
        <p:cNvGrpSpPr/>
        <p:nvPr/>
      </p:nvGrpSpPr>
      <p:grpSpPr>
        <a:xfrm>
          <a:off x="0" y="0"/>
          <a:ext cx="0" cy="0"/>
          <a:chOff x="0" y="0"/>
          <a:chExt cx="0" cy="0"/>
        </a:xfrm>
      </p:grpSpPr>
      <p:grpSp>
        <p:nvGrpSpPr>
          <p:cNvPr id="24" name="Group 23"/>
          <p:cNvGrpSpPr>
            <a:grpSpLocks noChangeAspect="1"/>
          </p:cNvGrpSpPr>
          <p:nvPr userDrawn="1"/>
        </p:nvGrpSpPr>
        <p:grpSpPr>
          <a:xfrm>
            <a:off x="10176312" y="5785848"/>
            <a:ext cx="1584176" cy="913626"/>
            <a:chOff x="10176312" y="5785848"/>
            <a:chExt cx="1584176" cy="913626"/>
          </a:xfrm>
        </p:grpSpPr>
        <p:sp>
          <p:nvSpPr>
            <p:cNvPr id="25" name="Freeform 6"/>
            <p:cNvSpPr>
              <a:spLocks/>
            </p:cNvSpPr>
            <p:nvPr userDrawn="1"/>
          </p:nvSpPr>
          <p:spPr bwMode="auto">
            <a:xfrm>
              <a:off x="10297850" y="6211927"/>
              <a:ext cx="1462638" cy="487547"/>
            </a:xfrm>
            <a:custGeom>
              <a:avLst/>
              <a:gdLst>
                <a:gd name="T0" fmla="*/ 0 w 10464"/>
                <a:gd name="T1" fmla="*/ 3488 h 3488"/>
                <a:gd name="T2" fmla="*/ 653 w 10464"/>
                <a:gd name="T3" fmla="*/ 3488 h 3488"/>
                <a:gd name="T4" fmla="*/ 1307 w 10464"/>
                <a:gd name="T5" fmla="*/ 3488 h 3488"/>
                <a:gd name="T6" fmla="*/ 1962 w 10464"/>
                <a:gd name="T7" fmla="*/ 3488 h 3488"/>
                <a:gd name="T8" fmla="*/ 2616 w 10464"/>
                <a:gd name="T9" fmla="*/ 3488 h 3488"/>
                <a:gd name="T10" fmla="*/ 3269 w 10464"/>
                <a:gd name="T11" fmla="*/ 3488 h 3488"/>
                <a:gd name="T12" fmla="*/ 3923 w 10464"/>
                <a:gd name="T13" fmla="*/ 3488 h 3488"/>
                <a:gd name="T14" fmla="*/ 4578 w 10464"/>
                <a:gd name="T15" fmla="*/ 3488 h 3488"/>
                <a:gd name="T16" fmla="*/ 5232 w 10464"/>
                <a:gd name="T17" fmla="*/ 3488 h 3488"/>
                <a:gd name="T18" fmla="*/ 5885 w 10464"/>
                <a:gd name="T19" fmla="*/ 3488 h 3488"/>
                <a:gd name="T20" fmla="*/ 6539 w 10464"/>
                <a:gd name="T21" fmla="*/ 3488 h 3488"/>
                <a:gd name="T22" fmla="*/ 7193 w 10464"/>
                <a:gd name="T23" fmla="*/ 3488 h 3488"/>
                <a:gd name="T24" fmla="*/ 7848 w 10464"/>
                <a:gd name="T25" fmla="*/ 3488 h 3488"/>
                <a:gd name="T26" fmla="*/ 8501 w 10464"/>
                <a:gd name="T27" fmla="*/ 3488 h 3488"/>
                <a:gd name="T28" fmla="*/ 9155 w 10464"/>
                <a:gd name="T29" fmla="*/ 3488 h 3488"/>
                <a:gd name="T30" fmla="*/ 9809 w 10464"/>
                <a:gd name="T31" fmla="*/ 3488 h 3488"/>
                <a:gd name="T32" fmla="*/ 10464 w 10464"/>
                <a:gd name="T33" fmla="*/ 3488 h 3488"/>
                <a:gd name="T34" fmla="*/ 10464 w 10464"/>
                <a:gd name="T35" fmla="*/ 2616 h 3488"/>
                <a:gd name="T36" fmla="*/ 10464 w 10464"/>
                <a:gd name="T37" fmla="*/ 1744 h 3488"/>
                <a:gd name="T38" fmla="*/ 10464 w 10464"/>
                <a:gd name="T39" fmla="*/ 872 h 3488"/>
                <a:gd name="T40" fmla="*/ 10464 w 10464"/>
                <a:gd name="T41" fmla="*/ 0 h 3488"/>
                <a:gd name="T42" fmla="*/ 9809 w 10464"/>
                <a:gd name="T43" fmla="*/ 0 h 3488"/>
                <a:gd name="T44" fmla="*/ 9155 w 10464"/>
                <a:gd name="T45" fmla="*/ 0 h 3488"/>
                <a:gd name="T46" fmla="*/ 8501 w 10464"/>
                <a:gd name="T47" fmla="*/ 0 h 3488"/>
                <a:gd name="T48" fmla="*/ 7848 w 10464"/>
                <a:gd name="T49" fmla="*/ 0 h 3488"/>
                <a:gd name="T50" fmla="*/ 7193 w 10464"/>
                <a:gd name="T51" fmla="*/ 0 h 3488"/>
                <a:gd name="T52" fmla="*/ 6539 w 10464"/>
                <a:gd name="T53" fmla="*/ 0 h 3488"/>
                <a:gd name="T54" fmla="*/ 5885 w 10464"/>
                <a:gd name="T55" fmla="*/ 0 h 3488"/>
                <a:gd name="T56" fmla="*/ 5232 w 10464"/>
                <a:gd name="T57" fmla="*/ 0 h 3488"/>
                <a:gd name="T58" fmla="*/ 4578 w 10464"/>
                <a:gd name="T59" fmla="*/ 0 h 3488"/>
                <a:gd name="T60" fmla="*/ 3923 w 10464"/>
                <a:gd name="T61" fmla="*/ 0 h 3488"/>
                <a:gd name="T62" fmla="*/ 3269 w 10464"/>
                <a:gd name="T63" fmla="*/ 0 h 3488"/>
                <a:gd name="T64" fmla="*/ 2616 w 10464"/>
                <a:gd name="T65" fmla="*/ 0 h 3488"/>
                <a:gd name="T66" fmla="*/ 1962 w 10464"/>
                <a:gd name="T67" fmla="*/ 0 h 3488"/>
                <a:gd name="T68" fmla="*/ 1307 w 10464"/>
                <a:gd name="T69" fmla="*/ 0 h 3488"/>
                <a:gd name="T70" fmla="*/ 653 w 10464"/>
                <a:gd name="T71" fmla="*/ 0 h 3488"/>
                <a:gd name="T72" fmla="*/ 0 w 10464"/>
                <a:gd name="T73" fmla="*/ 0 h 3488"/>
                <a:gd name="T74" fmla="*/ 0 w 10464"/>
                <a:gd name="T75" fmla="*/ 872 h 3488"/>
                <a:gd name="T76" fmla="*/ 0 w 10464"/>
                <a:gd name="T77" fmla="*/ 1744 h 3488"/>
                <a:gd name="T78" fmla="*/ 0 w 10464"/>
                <a:gd name="T79" fmla="*/ 2616 h 3488"/>
                <a:gd name="T80" fmla="*/ 0 w 10464"/>
                <a:gd name="T81" fmla="*/ 3488 h 3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464" h="3488">
                  <a:moveTo>
                    <a:pt x="0" y="3488"/>
                  </a:moveTo>
                  <a:lnTo>
                    <a:pt x="653" y="3488"/>
                  </a:lnTo>
                  <a:lnTo>
                    <a:pt x="1307" y="3488"/>
                  </a:lnTo>
                  <a:lnTo>
                    <a:pt x="1962" y="3488"/>
                  </a:lnTo>
                  <a:lnTo>
                    <a:pt x="2616" y="3488"/>
                  </a:lnTo>
                  <a:lnTo>
                    <a:pt x="3269" y="3488"/>
                  </a:lnTo>
                  <a:lnTo>
                    <a:pt x="3923" y="3488"/>
                  </a:lnTo>
                  <a:lnTo>
                    <a:pt x="4578" y="3488"/>
                  </a:lnTo>
                  <a:lnTo>
                    <a:pt x="5232" y="3488"/>
                  </a:lnTo>
                  <a:lnTo>
                    <a:pt x="5885" y="3488"/>
                  </a:lnTo>
                  <a:lnTo>
                    <a:pt x="6539" y="3488"/>
                  </a:lnTo>
                  <a:lnTo>
                    <a:pt x="7193" y="3488"/>
                  </a:lnTo>
                  <a:lnTo>
                    <a:pt x="7848" y="3488"/>
                  </a:lnTo>
                  <a:lnTo>
                    <a:pt x="8501" y="3488"/>
                  </a:lnTo>
                  <a:lnTo>
                    <a:pt x="9155" y="3488"/>
                  </a:lnTo>
                  <a:lnTo>
                    <a:pt x="9809" y="3488"/>
                  </a:lnTo>
                  <a:lnTo>
                    <a:pt x="10464" y="3488"/>
                  </a:lnTo>
                  <a:lnTo>
                    <a:pt x="10464" y="2616"/>
                  </a:lnTo>
                  <a:lnTo>
                    <a:pt x="10464" y="1744"/>
                  </a:lnTo>
                  <a:lnTo>
                    <a:pt x="10464" y="872"/>
                  </a:lnTo>
                  <a:lnTo>
                    <a:pt x="10464" y="0"/>
                  </a:lnTo>
                  <a:lnTo>
                    <a:pt x="9809" y="0"/>
                  </a:lnTo>
                  <a:lnTo>
                    <a:pt x="9155" y="0"/>
                  </a:lnTo>
                  <a:lnTo>
                    <a:pt x="8501" y="0"/>
                  </a:lnTo>
                  <a:lnTo>
                    <a:pt x="7848" y="0"/>
                  </a:lnTo>
                  <a:lnTo>
                    <a:pt x="7193" y="0"/>
                  </a:lnTo>
                  <a:lnTo>
                    <a:pt x="6539" y="0"/>
                  </a:lnTo>
                  <a:lnTo>
                    <a:pt x="5885" y="0"/>
                  </a:lnTo>
                  <a:lnTo>
                    <a:pt x="5232" y="0"/>
                  </a:lnTo>
                  <a:lnTo>
                    <a:pt x="4578" y="0"/>
                  </a:lnTo>
                  <a:lnTo>
                    <a:pt x="3923" y="0"/>
                  </a:lnTo>
                  <a:lnTo>
                    <a:pt x="3269" y="0"/>
                  </a:lnTo>
                  <a:lnTo>
                    <a:pt x="2616" y="0"/>
                  </a:lnTo>
                  <a:lnTo>
                    <a:pt x="1962" y="0"/>
                  </a:lnTo>
                  <a:lnTo>
                    <a:pt x="1307" y="0"/>
                  </a:lnTo>
                  <a:lnTo>
                    <a:pt x="653" y="0"/>
                  </a:lnTo>
                  <a:lnTo>
                    <a:pt x="0" y="0"/>
                  </a:lnTo>
                  <a:lnTo>
                    <a:pt x="0" y="872"/>
                  </a:lnTo>
                  <a:lnTo>
                    <a:pt x="0" y="1744"/>
                  </a:lnTo>
                  <a:lnTo>
                    <a:pt x="0" y="2616"/>
                  </a:lnTo>
                  <a:lnTo>
                    <a:pt x="0" y="3488"/>
                  </a:lnTo>
                  <a:close/>
                </a:path>
              </a:pathLst>
            </a:custGeom>
            <a:solidFill>
              <a:srgbClr val="5AC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6" name="Freeform 7"/>
            <p:cNvSpPr>
              <a:spLocks noEditPoints="1"/>
            </p:cNvSpPr>
            <p:nvPr userDrawn="1"/>
          </p:nvSpPr>
          <p:spPr bwMode="auto">
            <a:xfrm>
              <a:off x="10419386" y="6306922"/>
              <a:ext cx="1218166" cy="286381"/>
            </a:xfrm>
            <a:custGeom>
              <a:avLst/>
              <a:gdLst>
                <a:gd name="T0" fmla="*/ 3454 w 8720"/>
                <a:gd name="T1" fmla="*/ 1049 h 2050"/>
                <a:gd name="T2" fmla="*/ 3166 w 8720"/>
                <a:gd name="T3" fmla="*/ 1051 h 2050"/>
                <a:gd name="T4" fmla="*/ 3068 w 8720"/>
                <a:gd name="T5" fmla="*/ 1409 h 2050"/>
                <a:gd name="T6" fmla="*/ 3261 w 8720"/>
                <a:gd name="T7" fmla="*/ 1675 h 2050"/>
                <a:gd name="T8" fmla="*/ 3519 w 8720"/>
                <a:gd name="T9" fmla="*/ 1539 h 2050"/>
                <a:gd name="T10" fmla="*/ 3863 w 8720"/>
                <a:gd name="T11" fmla="*/ 1565 h 2050"/>
                <a:gd name="T12" fmla="*/ 3603 w 8720"/>
                <a:gd name="T13" fmla="*/ 1898 h 2050"/>
                <a:gd name="T14" fmla="*/ 3188 w 8720"/>
                <a:gd name="T15" fmla="*/ 1959 h 2050"/>
                <a:gd name="T16" fmla="*/ 2786 w 8720"/>
                <a:gd name="T17" fmla="*/ 1655 h 2050"/>
                <a:gd name="T18" fmla="*/ 2732 w 8720"/>
                <a:gd name="T19" fmla="*/ 1207 h 2050"/>
                <a:gd name="T20" fmla="*/ 3018 w 8720"/>
                <a:gd name="T21" fmla="*/ 786 h 2050"/>
                <a:gd name="T22" fmla="*/ 3503 w 8720"/>
                <a:gd name="T23" fmla="*/ 740 h 2050"/>
                <a:gd name="T24" fmla="*/ 3857 w 8720"/>
                <a:gd name="T25" fmla="*/ 1088 h 2050"/>
                <a:gd name="T26" fmla="*/ 4586 w 8720"/>
                <a:gd name="T27" fmla="*/ 1045 h 2050"/>
                <a:gd name="T28" fmla="*/ 4361 w 8720"/>
                <a:gd name="T29" fmla="*/ 1327 h 2050"/>
                <a:gd name="T30" fmla="*/ 4391 w 8720"/>
                <a:gd name="T31" fmla="*/ 895 h 2050"/>
                <a:gd name="T32" fmla="*/ 4703 w 8720"/>
                <a:gd name="T33" fmla="*/ 728 h 2050"/>
                <a:gd name="T34" fmla="*/ 5384 w 8720"/>
                <a:gd name="T35" fmla="*/ 1679 h 2050"/>
                <a:gd name="T36" fmla="*/ 5258 w 8720"/>
                <a:gd name="T37" fmla="*/ 1026 h 2050"/>
                <a:gd name="T38" fmla="*/ 4962 w 8720"/>
                <a:gd name="T39" fmla="*/ 1758 h 2050"/>
                <a:gd name="T40" fmla="*/ 5374 w 8720"/>
                <a:gd name="T41" fmla="*/ 1960 h 2050"/>
                <a:gd name="T42" fmla="*/ 6441 w 8720"/>
                <a:gd name="T43" fmla="*/ 1538 h 2050"/>
                <a:gd name="T44" fmla="*/ 6231 w 8720"/>
                <a:gd name="T45" fmla="*/ 1676 h 2050"/>
                <a:gd name="T46" fmla="*/ 6056 w 8720"/>
                <a:gd name="T47" fmla="*/ 1487 h 2050"/>
                <a:gd name="T48" fmla="*/ 5746 w 8720"/>
                <a:gd name="T49" fmla="*/ 1671 h 2050"/>
                <a:gd name="T50" fmla="*/ 5949 w 8720"/>
                <a:gd name="T51" fmla="*/ 1899 h 2050"/>
                <a:gd name="T52" fmla="*/ 6505 w 8720"/>
                <a:gd name="T53" fmla="*/ 1921 h 2050"/>
                <a:gd name="T54" fmla="*/ 6769 w 8720"/>
                <a:gd name="T55" fmla="*/ 1628 h 2050"/>
                <a:gd name="T56" fmla="*/ 8698 w 8720"/>
                <a:gd name="T57" fmla="*/ 985 h 2050"/>
                <a:gd name="T58" fmla="*/ 8484 w 8720"/>
                <a:gd name="T59" fmla="*/ 747 h 2050"/>
                <a:gd name="T60" fmla="*/ 8083 w 8720"/>
                <a:gd name="T61" fmla="*/ 806 h 2050"/>
                <a:gd name="T62" fmla="*/ 7885 w 8720"/>
                <a:gd name="T63" fmla="*/ 840 h 2050"/>
                <a:gd name="T64" fmla="*/ 7630 w 8720"/>
                <a:gd name="T65" fmla="*/ 721 h 2050"/>
                <a:gd name="T66" fmla="*/ 7324 w 8720"/>
                <a:gd name="T67" fmla="*/ 871 h 2050"/>
                <a:gd name="T68" fmla="*/ 7270 w 8720"/>
                <a:gd name="T69" fmla="*/ 1283 h 2050"/>
                <a:gd name="T70" fmla="*/ 7447 w 8720"/>
                <a:gd name="T71" fmla="*/ 1034 h 2050"/>
                <a:gd name="T72" fmla="*/ 7645 w 8720"/>
                <a:gd name="T73" fmla="*/ 1211 h 2050"/>
                <a:gd name="T74" fmla="*/ 8034 w 8720"/>
                <a:gd name="T75" fmla="*/ 1138 h 2050"/>
                <a:gd name="T76" fmla="*/ 8289 w 8720"/>
                <a:gd name="T77" fmla="*/ 1046 h 2050"/>
                <a:gd name="T78" fmla="*/ 8377 w 8720"/>
                <a:gd name="T79" fmla="*/ 1938 h 2050"/>
                <a:gd name="T80" fmla="*/ 2458 w 8720"/>
                <a:gd name="T81" fmla="*/ 483 h 2050"/>
                <a:gd name="T82" fmla="*/ 2107 w 8720"/>
                <a:gd name="T83" fmla="*/ 1483 h 2050"/>
                <a:gd name="T84" fmla="*/ 2152 w 8720"/>
                <a:gd name="T85" fmla="*/ 299 h 2050"/>
                <a:gd name="T86" fmla="*/ 2419 w 8720"/>
                <a:gd name="T87" fmla="*/ 83 h 2050"/>
                <a:gd name="T88" fmla="*/ 2622 w 8720"/>
                <a:gd name="T89" fmla="*/ 369 h 2050"/>
                <a:gd name="T90" fmla="*/ 1130 w 8720"/>
                <a:gd name="T91" fmla="*/ 2050 h 2050"/>
                <a:gd name="T92" fmla="*/ 570 w 8720"/>
                <a:gd name="T93" fmla="*/ 1915 h 2050"/>
                <a:gd name="T94" fmla="*/ 120 w 8720"/>
                <a:gd name="T95" fmla="*/ 1452 h 2050"/>
                <a:gd name="T96" fmla="*/ 8 w 8720"/>
                <a:gd name="T97" fmla="*/ 822 h 2050"/>
                <a:gd name="T98" fmla="*/ 222 w 8720"/>
                <a:gd name="T99" fmla="*/ 289 h 2050"/>
                <a:gd name="T100" fmla="*/ 690 w 8720"/>
                <a:gd name="T101" fmla="*/ 389 h 2050"/>
                <a:gd name="T102" fmla="*/ 424 w 8720"/>
                <a:gd name="T103" fmla="*/ 782 h 2050"/>
                <a:gd name="T104" fmla="*/ 460 w 8720"/>
                <a:gd name="T105" fmla="*/ 1242 h 2050"/>
                <a:gd name="T106" fmla="*/ 783 w 8720"/>
                <a:gd name="T107" fmla="*/ 1573 h 2050"/>
                <a:gd name="T108" fmla="*/ 1246 w 8720"/>
                <a:gd name="T109" fmla="*/ 1632 h 2050"/>
                <a:gd name="T110" fmla="*/ 745 w 8720"/>
                <a:gd name="T111" fmla="*/ 1453 h 2050"/>
                <a:gd name="T112" fmla="*/ 1347 w 8720"/>
                <a:gd name="T113" fmla="*/ 1509 h 2050"/>
                <a:gd name="T114" fmla="*/ 1693 w 8720"/>
                <a:gd name="T115" fmla="*/ 1099 h 2050"/>
                <a:gd name="T116" fmla="*/ 1523 w 8720"/>
                <a:gd name="T117" fmla="*/ 505 h 2050"/>
                <a:gd name="T118" fmla="*/ 1152 w 8720"/>
                <a:gd name="T119" fmla="*/ 342 h 2050"/>
                <a:gd name="T120" fmla="*/ 691 w 8720"/>
                <a:gd name="T121" fmla="*/ 497 h 2050"/>
                <a:gd name="T122" fmla="*/ 491 w 8720"/>
                <a:gd name="T123" fmla="*/ 1037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720" h="2050">
                  <a:moveTo>
                    <a:pt x="3554" y="1338"/>
                  </a:moveTo>
                  <a:lnTo>
                    <a:pt x="3553" y="1299"/>
                  </a:lnTo>
                  <a:lnTo>
                    <a:pt x="3550" y="1263"/>
                  </a:lnTo>
                  <a:lnTo>
                    <a:pt x="3546" y="1228"/>
                  </a:lnTo>
                  <a:lnTo>
                    <a:pt x="3538" y="1196"/>
                  </a:lnTo>
                  <a:lnTo>
                    <a:pt x="3529" y="1165"/>
                  </a:lnTo>
                  <a:lnTo>
                    <a:pt x="3518" y="1137"/>
                  </a:lnTo>
                  <a:lnTo>
                    <a:pt x="3511" y="1124"/>
                  </a:lnTo>
                  <a:lnTo>
                    <a:pt x="3504" y="1112"/>
                  </a:lnTo>
                  <a:lnTo>
                    <a:pt x="3490" y="1088"/>
                  </a:lnTo>
                  <a:lnTo>
                    <a:pt x="3473" y="1068"/>
                  </a:lnTo>
                  <a:lnTo>
                    <a:pt x="3454" y="1049"/>
                  </a:lnTo>
                  <a:lnTo>
                    <a:pt x="3436" y="1034"/>
                  </a:lnTo>
                  <a:lnTo>
                    <a:pt x="3413" y="1022"/>
                  </a:lnTo>
                  <a:lnTo>
                    <a:pt x="3390" y="1012"/>
                  </a:lnTo>
                  <a:lnTo>
                    <a:pt x="3366" y="1004"/>
                  </a:lnTo>
                  <a:lnTo>
                    <a:pt x="3339" y="1000"/>
                  </a:lnTo>
                  <a:lnTo>
                    <a:pt x="3311" y="998"/>
                  </a:lnTo>
                  <a:lnTo>
                    <a:pt x="3283" y="1000"/>
                  </a:lnTo>
                  <a:lnTo>
                    <a:pt x="3257" y="1004"/>
                  </a:lnTo>
                  <a:lnTo>
                    <a:pt x="3232" y="1012"/>
                  </a:lnTo>
                  <a:lnTo>
                    <a:pt x="3209" y="1022"/>
                  </a:lnTo>
                  <a:lnTo>
                    <a:pt x="3187" y="1035"/>
                  </a:lnTo>
                  <a:lnTo>
                    <a:pt x="3166" y="1051"/>
                  </a:lnTo>
                  <a:lnTo>
                    <a:pt x="3148" y="1069"/>
                  </a:lnTo>
                  <a:lnTo>
                    <a:pt x="3130" y="1091"/>
                  </a:lnTo>
                  <a:lnTo>
                    <a:pt x="3116" y="1114"/>
                  </a:lnTo>
                  <a:lnTo>
                    <a:pt x="3102" y="1139"/>
                  </a:lnTo>
                  <a:lnTo>
                    <a:pt x="3090" y="1167"/>
                  </a:lnTo>
                  <a:lnTo>
                    <a:pt x="3081" y="1197"/>
                  </a:lnTo>
                  <a:lnTo>
                    <a:pt x="3073" y="1228"/>
                  </a:lnTo>
                  <a:lnTo>
                    <a:pt x="3068" y="1263"/>
                  </a:lnTo>
                  <a:lnTo>
                    <a:pt x="3065" y="1298"/>
                  </a:lnTo>
                  <a:lnTo>
                    <a:pt x="3063" y="1336"/>
                  </a:lnTo>
                  <a:lnTo>
                    <a:pt x="3065" y="1374"/>
                  </a:lnTo>
                  <a:lnTo>
                    <a:pt x="3068" y="1409"/>
                  </a:lnTo>
                  <a:lnTo>
                    <a:pt x="3073" y="1444"/>
                  </a:lnTo>
                  <a:lnTo>
                    <a:pt x="3081" y="1477"/>
                  </a:lnTo>
                  <a:lnTo>
                    <a:pt x="3091" y="1507"/>
                  </a:lnTo>
                  <a:lnTo>
                    <a:pt x="3102" y="1536"/>
                  </a:lnTo>
                  <a:lnTo>
                    <a:pt x="3117" y="1562"/>
                  </a:lnTo>
                  <a:lnTo>
                    <a:pt x="3132" y="1586"/>
                  </a:lnTo>
                  <a:lnTo>
                    <a:pt x="3149" y="1607"/>
                  </a:lnTo>
                  <a:lnTo>
                    <a:pt x="3169" y="1626"/>
                  </a:lnTo>
                  <a:lnTo>
                    <a:pt x="3189" y="1643"/>
                  </a:lnTo>
                  <a:lnTo>
                    <a:pt x="3211" y="1656"/>
                  </a:lnTo>
                  <a:lnTo>
                    <a:pt x="3236" y="1667"/>
                  </a:lnTo>
                  <a:lnTo>
                    <a:pt x="3261" y="1675"/>
                  </a:lnTo>
                  <a:lnTo>
                    <a:pt x="3288" y="1679"/>
                  </a:lnTo>
                  <a:lnTo>
                    <a:pt x="3317" y="1680"/>
                  </a:lnTo>
                  <a:lnTo>
                    <a:pt x="3343" y="1679"/>
                  </a:lnTo>
                  <a:lnTo>
                    <a:pt x="3369" y="1675"/>
                  </a:lnTo>
                  <a:lnTo>
                    <a:pt x="3393" y="1667"/>
                  </a:lnTo>
                  <a:lnTo>
                    <a:pt x="3417" y="1657"/>
                  </a:lnTo>
                  <a:lnTo>
                    <a:pt x="3438" y="1644"/>
                  </a:lnTo>
                  <a:lnTo>
                    <a:pt x="3458" y="1628"/>
                  </a:lnTo>
                  <a:lnTo>
                    <a:pt x="3476" y="1609"/>
                  </a:lnTo>
                  <a:lnTo>
                    <a:pt x="3491" y="1588"/>
                  </a:lnTo>
                  <a:lnTo>
                    <a:pt x="3506" y="1565"/>
                  </a:lnTo>
                  <a:lnTo>
                    <a:pt x="3519" y="1539"/>
                  </a:lnTo>
                  <a:lnTo>
                    <a:pt x="3529" y="1512"/>
                  </a:lnTo>
                  <a:lnTo>
                    <a:pt x="3538" y="1480"/>
                  </a:lnTo>
                  <a:lnTo>
                    <a:pt x="3546" y="1448"/>
                  </a:lnTo>
                  <a:lnTo>
                    <a:pt x="3550" y="1414"/>
                  </a:lnTo>
                  <a:lnTo>
                    <a:pt x="3553" y="1377"/>
                  </a:lnTo>
                  <a:lnTo>
                    <a:pt x="3554" y="1338"/>
                  </a:lnTo>
                  <a:close/>
                  <a:moveTo>
                    <a:pt x="3897" y="1340"/>
                  </a:moveTo>
                  <a:lnTo>
                    <a:pt x="3893" y="1408"/>
                  </a:lnTo>
                  <a:lnTo>
                    <a:pt x="3885" y="1474"/>
                  </a:lnTo>
                  <a:lnTo>
                    <a:pt x="3880" y="1505"/>
                  </a:lnTo>
                  <a:lnTo>
                    <a:pt x="3872" y="1536"/>
                  </a:lnTo>
                  <a:lnTo>
                    <a:pt x="3863" y="1565"/>
                  </a:lnTo>
                  <a:lnTo>
                    <a:pt x="3853" y="1595"/>
                  </a:lnTo>
                  <a:lnTo>
                    <a:pt x="3843" y="1623"/>
                  </a:lnTo>
                  <a:lnTo>
                    <a:pt x="3831" y="1649"/>
                  </a:lnTo>
                  <a:lnTo>
                    <a:pt x="3803" y="1701"/>
                  </a:lnTo>
                  <a:lnTo>
                    <a:pt x="3771" y="1749"/>
                  </a:lnTo>
                  <a:lnTo>
                    <a:pt x="3753" y="1773"/>
                  </a:lnTo>
                  <a:lnTo>
                    <a:pt x="3734" y="1794"/>
                  </a:lnTo>
                  <a:lnTo>
                    <a:pt x="3716" y="1814"/>
                  </a:lnTo>
                  <a:lnTo>
                    <a:pt x="3694" y="1834"/>
                  </a:lnTo>
                  <a:lnTo>
                    <a:pt x="3650" y="1868"/>
                  </a:lnTo>
                  <a:lnTo>
                    <a:pt x="3627" y="1884"/>
                  </a:lnTo>
                  <a:lnTo>
                    <a:pt x="3603" y="1898"/>
                  </a:lnTo>
                  <a:lnTo>
                    <a:pt x="3552" y="1924"/>
                  </a:lnTo>
                  <a:lnTo>
                    <a:pt x="3526" y="1935"/>
                  </a:lnTo>
                  <a:lnTo>
                    <a:pt x="3498" y="1944"/>
                  </a:lnTo>
                  <a:lnTo>
                    <a:pt x="3470" y="1951"/>
                  </a:lnTo>
                  <a:lnTo>
                    <a:pt x="3441" y="1958"/>
                  </a:lnTo>
                  <a:lnTo>
                    <a:pt x="3411" y="1964"/>
                  </a:lnTo>
                  <a:lnTo>
                    <a:pt x="3381" y="1967"/>
                  </a:lnTo>
                  <a:lnTo>
                    <a:pt x="3319" y="1970"/>
                  </a:lnTo>
                  <a:lnTo>
                    <a:pt x="3285" y="1969"/>
                  </a:lnTo>
                  <a:lnTo>
                    <a:pt x="3252" y="1967"/>
                  </a:lnTo>
                  <a:lnTo>
                    <a:pt x="3220" y="1964"/>
                  </a:lnTo>
                  <a:lnTo>
                    <a:pt x="3188" y="1959"/>
                  </a:lnTo>
                  <a:lnTo>
                    <a:pt x="3158" y="1953"/>
                  </a:lnTo>
                  <a:lnTo>
                    <a:pt x="3128" y="1945"/>
                  </a:lnTo>
                  <a:lnTo>
                    <a:pt x="3071" y="1926"/>
                  </a:lnTo>
                  <a:lnTo>
                    <a:pt x="3018" y="1901"/>
                  </a:lnTo>
                  <a:lnTo>
                    <a:pt x="2993" y="1887"/>
                  </a:lnTo>
                  <a:lnTo>
                    <a:pt x="2969" y="1871"/>
                  </a:lnTo>
                  <a:lnTo>
                    <a:pt x="2924" y="1837"/>
                  </a:lnTo>
                  <a:lnTo>
                    <a:pt x="2882" y="1798"/>
                  </a:lnTo>
                  <a:lnTo>
                    <a:pt x="2864" y="1777"/>
                  </a:lnTo>
                  <a:lnTo>
                    <a:pt x="2846" y="1755"/>
                  </a:lnTo>
                  <a:lnTo>
                    <a:pt x="2814" y="1707"/>
                  </a:lnTo>
                  <a:lnTo>
                    <a:pt x="2786" y="1655"/>
                  </a:lnTo>
                  <a:lnTo>
                    <a:pt x="2775" y="1627"/>
                  </a:lnTo>
                  <a:lnTo>
                    <a:pt x="2764" y="1598"/>
                  </a:lnTo>
                  <a:lnTo>
                    <a:pt x="2754" y="1569"/>
                  </a:lnTo>
                  <a:lnTo>
                    <a:pt x="2746" y="1538"/>
                  </a:lnTo>
                  <a:lnTo>
                    <a:pt x="2738" y="1507"/>
                  </a:lnTo>
                  <a:lnTo>
                    <a:pt x="2732" y="1474"/>
                  </a:lnTo>
                  <a:lnTo>
                    <a:pt x="2728" y="1440"/>
                  </a:lnTo>
                  <a:lnTo>
                    <a:pt x="2725" y="1407"/>
                  </a:lnTo>
                  <a:lnTo>
                    <a:pt x="2722" y="1372"/>
                  </a:lnTo>
                  <a:lnTo>
                    <a:pt x="2721" y="1336"/>
                  </a:lnTo>
                  <a:lnTo>
                    <a:pt x="2725" y="1271"/>
                  </a:lnTo>
                  <a:lnTo>
                    <a:pt x="2732" y="1207"/>
                  </a:lnTo>
                  <a:lnTo>
                    <a:pt x="2738" y="1177"/>
                  </a:lnTo>
                  <a:lnTo>
                    <a:pt x="2746" y="1147"/>
                  </a:lnTo>
                  <a:lnTo>
                    <a:pt x="2764" y="1089"/>
                  </a:lnTo>
                  <a:lnTo>
                    <a:pt x="2775" y="1062"/>
                  </a:lnTo>
                  <a:lnTo>
                    <a:pt x="2787" y="1035"/>
                  </a:lnTo>
                  <a:lnTo>
                    <a:pt x="2815" y="983"/>
                  </a:lnTo>
                  <a:lnTo>
                    <a:pt x="2847" y="936"/>
                  </a:lnTo>
                  <a:lnTo>
                    <a:pt x="2865" y="913"/>
                  </a:lnTo>
                  <a:lnTo>
                    <a:pt x="2884" y="892"/>
                  </a:lnTo>
                  <a:lnTo>
                    <a:pt x="2925" y="852"/>
                  </a:lnTo>
                  <a:lnTo>
                    <a:pt x="2969" y="817"/>
                  </a:lnTo>
                  <a:lnTo>
                    <a:pt x="3018" y="786"/>
                  </a:lnTo>
                  <a:lnTo>
                    <a:pt x="3070" y="761"/>
                  </a:lnTo>
                  <a:lnTo>
                    <a:pt x="3098" y="750"/>
                  </a:lnTo>
                  <a:lnTo>
                    <a:pt x="3126" y="741"/>
                  </a:lnTo>
                  <a:lnTo>
                    <a:pt x="3155" y="732"/>
                  </a:lnTo>
                  <a:lnTo>
                    <a:pt x="3185" y="725"/>
                  </a:lnTo>
                  <a:lnTo>
                    <a:pt x="3216" y="721"/>
                  </a:lnTo>
                  <a:lnTo>
                    <a:pt x="3247" y="716"/>
                  </a:lnTo>
                  <a:lnTo>
                    <a:pt x="3311" y="713"/>
                  </a:lnTo>
                  <a:lnTo>
                    <a:pt x="3379" y="716"/>
                  </a:lnTo>
                  <a:lnTo>
                    <a:pt x="3411" y="720"/>
                  </a:lnTo>
                  <a:lnTo>
                    <a:pt x="3443" y="725"/>
                  </a:lnTo>
                  <a:lnTo>
                    <a:pt x="3503" y="740"/>
                  </a:lnTo>
                  <a:lnTo>
                    <a:pt x="3559" y="760"/>
                  </a:lnTo>
                  <a:lnTo>
                    <a:pt x="3586" y="772"/>
                  </a:lnTo>
                  <a:lnTo>
                    <a:pt x="3611" y="785"/>
                  </a:lnTo>
                  <a:lnTo>
                    <a:pt x="3636" y="800"/>
                  </a:lnTo>
                  <a:lnTo>
                    <a:pt x="3660" y="815"/>
                  </a:lnTo>
                  <a:lnTo>
                    <a:pt x="3703" y="851"/>
                  </a:lnTo>
                  <a:lnTo>
                    <a:pt x="3723" y="870"/>
                  </a:lnTo>
                  <a:lnTo>
                    <a:pt x="3743" y="890"/>
                  </a:lnTo>
                  <a:lnTo>
                    <a:pt x="3778" y="934"/>
                  </a:lnTo>
                  <a:lnTo>
                    <a:pt x="3809" y="982"/>
                  </a:lnTo>
                  <a:lnTo>
                    <a:pt x="3835" y="1033"/>
                  </a:lnTo>
                  <a:lnTo>
                    <a:pt x="3857" y="1088"/>
                  </a:lnTo>
                  <a:lnTo>
                    <a:pt x="3867" y="1117"/>
                  </a:lnTo>
                  <a:lnTo>
                    <a:pt x="3874" y="1147"/>
                  </a:lnTo>
                  <a:lnTo>
                    <a:pt x="3887" y="1208"/>
                  </a:lnTo>
                  <a:lnTo>
                    <a:pt x="3894" y="1273"/>
                  </a:lnTo>
                  <a:lnTo>
                    <a:pt x="3897" y="1340"/>
                  </a:lnTo>
                  <a:close/>
                  <a:moveTo>
                    <a:pt x="4810" y="1073"/>
                  </a:moveTo>
                  <a:lnTo>
                    <a:pt x="4769" y="1056"/>
                  </a:lnTo>
                  <a:lnTo>
                    <a:pt x="4732" y="1045"/>
                  </a:lnTo>
                  <a:lnTo>
                    <a:pt x="4694" y="1039"/>
                  </a:lnTo>
                  <a:lnTo>
                    <a:pt x="4653" y="1038"/>
                  </a:lnTo>
                  <a:lnTo>
                    <a:pt x="4619" y="1039"/>
                  </a:lnTo>
                  <a:lnTo>
                    <a:pt x="4586" y="1045"/>
                  </a:lnTo>
                  <a:lnTo>
                    <a:pt x="4555" y="1053"/>
                  </a:lnTo>
                  <a:lnTo>
                    <a:pt x="4526" y="1064"/>
                  </a:lnTo>
                  <a:lnTo>
                    <a:pt x="4501" y="1078"/>
                  </a:lnTo>
                  <a:lnTo>
                    <a:pt x="4476" y="1095"/>
                  </a:lnTo>
                  <a:lnTo>
                    <a:pt x="4453" y="1115"/>
                  </a:lnTo>
                  <a:lnTo>
                    <a:pt x="4433" y="1137"/>
                  </a:lnTo>
                  <a:lnTo>
                    <a:pt x="4415" y="1163"/>
                  </a:lnTo>
                  <a:lnTo>
                    <a:pt x="4400" y="1191"/>
                  </a:lnTo>
                  <a:lnTo>
                    <a:pt x="4386" y="1222"/>
                  </a:lnTo>
                  <a:lnTo>
                    <a:pt x="4375" y="1254"/>
                  </a:lnTo>
                  <a:lnTo>
                    <a:pt x="4366" y="1289"/>
                  </a:lnTo>
                  <a:lnTo>
                    <a:pt x="4361" y="1327"/>
                  </a:lnTo>
                  <a:lnTo>
                    <a:pt x="4356" y="1367"/>
                  </a:lnTo>
                  <a:lnTo>
                    <a:pt x="4355" y="1408"/>
                  </a:lnTo>
                  <a:lnTo>
                    <a:pt x="4355" y="1938"/>
                  </a:lnTo>
                  <a:lnTo>
                    <a:pt x="4017" y="1938"/>
                  </a:lnTo>
                  <a:lnTo>
                    <a:pt x="4017" y="1342"/>
                  </a:lnTo>
                  <a:lnTo>
                    <a:pt x="4017" y="746"/>
                  </a:lnTo>
                  <a:lnTo>
                    <a:pt x="4343" y="746"/>
                  </a:lnTo>
                  <a:lnTo>
                    <a:pt x="4343" y="1017"/>
                  </a:lnTo>
                  <a:lnTo>
                    <a:pt x="4352" y="984"/>
                  </a:lnTo>
                  <a:lnTo>
                    <a:pt x="4363" y="953"/>
                  </a:lnTo>
                  <a:lnTo>
                    <a:pt x="4375" y="923"/>
                  </a:lnTo>
                  <a:lnTo>
                    <a:pt x="4391" y="895"/>
                  </a:lnTo>
                  <a:lnTo>
                    <a:pt x="4408" y="870"/>
                  </a:lnTo>
                  <a:lnTo>
                    <a:pt x="4425" y="846"/>
                  </a:lnTo>
                  <a:lnTo>
                    <a:pt x="4446" y="824"/>
                  </a:lnTo>
                  <a:lnTo>
                    <a:pt x="4468" y="805"/>
                  </a:lnTo>
                  <a:lnTo>
                    <a:pt x="4492" y="787"/>
                  </a:lnTo>
                  <a:lnTo>
                    <a:pt x="4517" y="772"/>
                  </a:lnTo>
                  <a:lnTo>
                    <a:pt x="4544" y="758"/>
                  </a:lnTo>
                  <a:lnTo>
                    <a:pt x="4573" y="748"/>
                  </a:lnTo>
                  <a:lnTo>
                    <a:pt x="4603" y="740"/>
                  </a:lnTo>
                  <a:lnTo>
                    <a:pt x="4635" y="734"/>
                  </a:lnTo>
                  <a:lnTo>
                    <a:pt x="4669" y="730"/>
                  </a:lnTo>
                  <a:lnTo>
                    <a:pt x="4703" y="728"/>
                  </a:lnTo>
                  <a:lnTo>
                    <a:pt x="4753" y="732"/>
                  </a:lnTo>
                  <a:lnTo>
                    <a:pt x="4810" y="741"/>
                  </a:lnTo>
                  <a:lnTo>
                    <a:pt x="4810" y="1073"/>
                  </a:lnTo>
                  <a:close/>
                  <a:moveTo>
                    <a:pt x="5598" y="1938"/>
                  </a:moveTo>
                  <a:lnTo>
                    <a:pt x="5598" y="1670"/>
                  </a:lnTo>
                  <a:lnTo>
                    <a:pt x="5561" y="1678"/>
                  </a:lnTo>
                  <a:lnTo>
                    <a:pt x="5526" y="1683"/>
                  </a:lnTo>
                  <a:lnTo>
                    <a:pt x="5494" y="1685"/>
                  </a:lnTo>
                  <a:lnTo>
                    <a:pt x="5458" y="1686"/>
                  </a:lnTo>
                  <a:lnTo>
                    <a:pt x="5432" y="1685"/>
                  </a:lnTo>
                  <a:lnTo>
                    <a:pt x="5406" y="1683"/>
                  </a:lnTo>
                  <a:lnTo>
                    <a:pt x="5384" y="1679"/>
                  </a:lnTo>
                  <a:lnTo>
                    <a:pt x="5364" y="1674"/>
                  </a:lnTo>
                  <a:lnTo>
                    <a:pt x="5345" y="1667"/>
                  </a:lnTo>
                  <a:lnTo>
                    <a:pt x="5328" y="1658"/>
                  </a:lnTo>
                  <a:lnTo>
                    <a:pt x="5314" y="1648"/>
                  </a:lnTo>
                  <a:lnTo>
                    <a:pt x="5302" y="1636"/>
                  </a:lnTo>
                  <a:lnTo>
                    <a:pt x="5292" y="1622"/>
                  </a:lnTo>
                  <a:lnTo>
                    <a:pt x="5282" y="1605"/>
                  </a:lnTo>
                  <a:lnTo>
                    <a:pt x="5275" y="1587"/>
                  </a:lnTo>
                  <a:lnTo>
                    <a:pt x="5268" y="1566"/>
                  </a:lnTo>
                  <a:lnTo>
                    <a:pt x="5262" y="1517"/>
                  </a:lnTo>
                  <a:lnTo>
                    <a:pt x="5258" y="1459"/>
                  </a:lnTo>
                  <a:lnTo>
                    <a:pt x="5258" y="1026"/>
                  </a:lnTo>
                  <a:lnTo>
                    <a:pt x="5583" y="1026"/>
                  </a:lnTo>
                  <a:lnTo>
                    <a:pt x="5583" y="755"/>
                  </a:lnTo>
                  <a:lnTo>
                    <a:pt x="5258" y="755"/>
                  </a:lnTo>
                  <a:lnTo>
                    <a:pt x="5258" y="365"/>
                  </a:lnTo>
                  <a:lnTo>
                    <a:pt x="4920" y="556"/>
                  </a:lnTo>
                  <a:lnTo>
                    <a:pt x="4920" y="1037"/>
                  </a:lnTo>
                  <a:lnTo>
                    <a:pt x="4920" y="1519"/>
                  </a:lnTo>
                  <a:lnTo>
                    <a:pt x="4921" y="1575"/>
                  </a:lnTo>
                  <a:lnTo>
                    <a:pt x="4926" y="1627"/>
                  </a:lnTo>
                  <a:lnTo>
                    <a:pt x="4935" y="1674"/>
                  </a:lnTo>
                  <a:lnTo>
                    <a:pt x="4946" y="1718"/>
                  </a:lnTo>
                  <a:lnTo>
                    <a:pt x="4962" y="1758"/>
                  </a:lnTo>
                  <a:lnTo>
                    <a:pt x="4981" y="1794"/>
                  </a:lnTo>
                  <a:lnTo>
                    <a:pt x="5003" y="1826"/>
                  </a:lnTo>
                  <a:lnTo>
                    <a:pt x="5030" y="1855"/>
                  </a:lnTo>
                  <a:lnTo>
                    <a:pt x="5044" y="1868"/>
                  </a:lnTo>
                  <a:lnTo>
                    <a:pt x="5060" y="1880"/>
                  </a:lnTo>
                  <a:lnTo>
                    <a:pt x="5093" y="1901"/>
                  </a:lnTo>
                  <a:lnTo>
                    <a:pt x="5130" y="1920"/>
                  </a:lnTo>
                  <a:lnTo>
                    <a:pt x="5171" y="1935"/>
                  </a:lnTo>
                  <a:lnTo>
                    <a:pt x="5216" y="1946"/>
                  </a:lnTo>
                  <a:lnTo>
                    <a:pt x="5265" y="1954"/>
                  </a:lnTo>
                  <a:lnTo>
                    <a:pt x="5317" y="1959"/>
                  </a:lnTo>
                  <a:lnTo>
                    <a:pt x="5374" y="1960"/>
                  </a:lnTo>
                  <a:lnTo>
                    <a:pt x="5431" y="1959"/>
                  </a:lnTo>
                  <a:lnTo>
                    <a:pt x="5484" y="1956"/>
                  </a:lnTo>
                  <a:lnTo>
                    <a:pt x="5538" y="1949"/>
                  </a:lnTo>
                  <a:lnTo>
                    <a:pt x="5598" y="1938"/>
                  </a:lnTo>
                  <a:close/>
                  <a:moveTo>
                    <a:pt x="6796" y="1358"/>
                  </a:moveTo>
                  <a:lnTo>
                    <a:pt x="6796" y="746"/>
                  </a:lnTo>
                  <a:lnTo>
                    <a:pt x="6457" y="746"/>
                  </a:lnTo>
                  <a:lnTo>
                    <a:pt x="6457" y="1358"/>
                  </a:lnTo>
                  <a:lnTo>
                    <a:pt x="6455" y="1440"/>
                  </a:lnTo>
                  <a:lnTo>
                    <a:pt x="6451" y="1476"/>
                  </a:lnTo>
                  <a:lnTo>
                    <a:pt x="6447" y="1508"/>
                  </a:lnTo>
                  <a:lnTo>
                    <a:pt x="6441" y="1538"/>
                  </a:lnTo>
                  <a:lnTo>
                    <a:pt x="6435" y="1564"/>
                  </a:lnTo>
                  <a:lnTo>
                    <a:pt x="6426" y="1587"/>
                  </a:lnTo>
                  <a:lnTo>
                    <a:pt x="6415" y="1607"/>
                  </a:lnTo>
                  <a:lnTo>
                    <a:pt x="6402" y="1624"/>
                  </a:lnTo>
                  <a:lnTo>
                    <a:pt x="6388" y="1639"/>
                  </a:lnTo>
                  <a:lnTo>
                    <a:pt x="6373" y="1650"/>
                  </a:lnTo>
                  <a:lnTo>
                    <a:pt x="6355" y="1660"/>
                  </a:lnTo>
                  <a:lnTo>
                    <a:pt x="6334" y="1668"/>
                  </a:lnTo>
                  <a:lnTo>
                    <a:pt x="6311" y="1673"/>
                  </a:lnTo>
                  <a:lnTo>
                    <a:pt x="6287" y="1676"/>
                  </a:lnTo>
                  <a:lnTo>
                    <a:pt x="6259" y="1677"/>
                  </a:lnTo>
                  <a:lnTo>
                    <a:pt x="6231" y="1676"/>
                  </a:lnTo>
                  <a:lnTo>
                    <a:pt x="6206" y="1673"/>
                  </a:lnTo>
                  <a:lnTo>
                    <a:pt x="6181" y="1668"/>
                  </a:lnTo>
                  <a:lnTo>
                    <a:pt x="6160" y="1660"/>
                  </a:lnTo>
                  <a:lnTo>
                    <a:pt x="6141" y="1652"/>
                  </a:lnTo>
                  <a:lnTo>
                    <a:pt x="6124" y="1640"/>
                  </a:lnTo>
                  <a:lnTo>
                    <a:pt x="6109" y="1626"/>
                  </a:lnTo>
                  <a:lnTo>
                    <a:pt x="6096" y="1609"/>
                  </a:lnTo>
                  <a:lnTo>
                    <a:pt x="6085" y="1590"/>
                  </a:lnTo>
                  <a:lnTo>
                    <a:pt x="6075" y="1569"/>
                  </a:lnTo>
                  <a:lnTo>
                    <a:pt x="6067" y="1545"/>
                  </a:lnTo>
                  <a:lnTo>
                    <a:pt x="6060" y="1517"/>
                  </a:lnTo>
                  <a:lnTo>
                    <a:pt x="6056" y="1487"/>
                  </a:lnTo>
                  <a:lnTo>
                    <a:pt x="6053" y="1454"/>
                  </a:lnTo>
                  <a:lnTo>
                    <a:pt x="6050" y="1417"/>
                  </a:lnTo>
                  <a:lnTo>
                    <a:pt x="6049" y="1378"/>
                  </a:lnTo>
                  <a:lnTo>
                    <a:pt x="6049" y="746"/>
                  </a:lnTo>
                  <a:lnTo>
                    <a:pt x="5710" y="746"/>
                  </a:lnTo>
                  <a:lnTo>
                    <a:pt x="5710" y="1373"/>
                  </a:lnTo>
                  <a:lnTo>
                    <a:pt x="5713" y="1465"/>
                  </a:lnTo>
                  <a:lnTo>
                    <a:pt x="5715" y="1505"/>
                  </a:lnTo>
                  <a:lnTo>
                    <a:pt x="5718" y="1544"/>
                  </a:lnTo>
                  <a:lnTo>
                    <a:pt x="5729" y="1612"/>
                  </a:lnTo>
                  <a:lnTo>
                    <a:pt x="5737" y="1643"/>
                  </a:lnTo>
                  <a:lnTo>
                    <a:pt x="5746" y="1671"/>
                  </a:lnTo>
                  <a:lnTo>
                    <a:pt x="5756" y="1698"/>
                  </a:lnTo>
                  <a:lnTo>
                    <a:pt x="5768" y="1723"/>
                  </a:lnTo>
                  <a:lnTo>
                    <a:pt x="5780" y="1747"/>
                  </a:lnTo>
                  <a:lnTo>
                    <a:pt x="5796" y="1769"/>
                  </a:lnTo>
                  <a:lnTo>
                    <a:pt x="5812" y="1790"/>
                  </a:lnTo>
                  <a:lnTo>
                    <a:pt x="5830" y="1810"/>
                  </a:lnTo>
                  <a:lnTo>
                    <a:pt x="5849" y="1829"/>
                  </a:lnTo>
                  <a:lnTo>
                    <a:pt x="5872" y="1848"/>
                  </a:lnTo>
                  <a:lnTo>
                    <a:pt x="5889" y="1863"/>
                  </a:lnTo>
                  <a:lnTo>
                    <a:pt x="5908" y="1876"/>
                  </a:lnTo>
                  <a:lnTo>
                    <a:pt x="5928" y="1888"/>
                  </a:lnTo>
                  <a:lnTo>
                    <a:pt x="5949" y="1899"/>
                  </a:lnTo>
                  <a:lnTo>
                    <a:pt x="5972" y="1909"/>
                  </a:lnTo>
                  <a:lnTo>
                    <a:pt x="5994" y="1919"/>
                  </a:lnTo>
                  <a:lnTo>
                    <a:pt x="6040" y="1936"/>
                  </a:lnTo>
                  <a:lnTo>
                    <a:pt x="6091" y="1949"/>
                  </a:lnTo>
                  <a:lnTo>
                    <a:pt x="6144" y="1958"/>
                  </a:lnTo>
                  <a:lnTo>
                    <a:pt x="6199" y="1964"/>
                  </a:lnTo>
                  <a:lnTo>
                    <a:pt x="6257" y="1966"/>
                  </a:lnTo>
                  <a:lnTo>
                    <a:pt x="6325" y="1963"/>
                  </a:lnTo>
                  <a:lnTo>
                    <a:pt x="6388" y="1955"/>
                  </a:lnTo>
                  <a:lnTo>
                    <a:pt x="6419" y="1948"/>
                  </a:lnTo>
                  <a:lnTo>
                    <a:pt x="6448" y="1940"/>
                  </a:lnTo>
                  <a:lnTo>
                    <a:pt x="6505" y="1921"/>
                  </a:lnTo>
                  <a:lnTo>
                    <a:pt x="6531" y="1910"/>
                  </a:lnTo>
                  <a:lnTo>
                    <a:pt x="6557" y="1898"/>
                  </a:lnTo>
                  <a:lnTo>
                    <a:pt x="6605" y="1869"/>
                  </a:lnTo>
                  <a:lnTo>
                    <a:pt x="6626" y="1853"/>
                  </a:lnTo>
                  <a:lnTo>
                    <a:pt x="6647" y="1835"/>
                  </a:lnTo>
                  <a:lnTo>
                    <a:pt x="6667" y="1816"/>
                  </a:lnTo>
                  <a:lnTo>
                    <a:pt x="6685" y="1796"/>
                  </a:lnTo>
                  <a:lnTo>
                    <a:pt x="6699" y="1779"/>
                  </a:lnTo>
                  <a:lnTo>
                    <a:pt x="6712" y="1760"/>
                  </a:lnTo>
                  <a:lnTo>
                    <a:pt x="6735" y="1721"/>
                  </a:lnTo>
                  <a:lnTo>
                    <a:pt x="6755" y="1678"/>
                  </a:lnTo>
                  <a:lnTo>
                    <a:pt x="6769" y="1628"/>
                  </a:lnTo>
                  <a:lnTo>
                    <a:pt x="6781" y="1573"/>
                  </a:lnTo>
                  <a:lnTo>
                    <a:pt x="6786" y="1542"/>
                  </a:lnTo>
                  <a:lnTo>
                    <a:pt x="6790" y="1509"/>
                  </a:lnTo>
                  <a:lnTo>
                    <a:pt x="6795" y="1438"/>
                  </a:lnTo>
                  <a:lnTo>
                    <a:pt x="6796" y="1358"/>
                  </a:lnTo>
                  <a:close/>
                  <a:moveTo>
                    <a:pt x="8720" y="1938"/>
                  </a:moveTo>
                  <a:lnTo>
                    <a:pt x="8720" y="1254"/>
                  </a:lnTo>
                  <a:lnTo>
                    <a:pt x="8718" y="1185"/>
                  </a:lnTo>
                  <a:lnTo>
                    <a:pt x="8716" y="1124"/>
                  </a:lnTo>
                  <a:lnTo>
                    <a:pt x="8712" y="1072"/>
                  </a:lnTo>
                  <a:lnTo>
                    <a:pt x="8706" y="1025"/>
                  </a:lnTo>
                  <a:lnTo>
                    <a:pt x="8698" y="985"/>
                  </a:lnTo>
                  <a:lnTo>
                    <a:pt x="8688" y="950"/>
                  </a:lnTo>
                  <a:lnTo>
                    <a:pt x="8676" y="918"/>
                  </a:lnTo>
                  <a:lnTo>
                    <a:pt x="8662" y="891"/>
                  </a:lnTo>
                  <a:lnTo>
                    <a:pt x="8650" y="871"/>
                  </a:lnTo>
                  <a:lnTo>
                    <a:pt x="8636" y="853"/>
                  </a:lnTo>
                  <a:lnTo>
                    <a:pt x="8622" y="836"/>
                  </a:lnTo>
                  <a:lnTo>
                    <a:pt x="8605" y="820"/>
                  </a:lnTo>
                  <a:lnTo>
                    <a:pt x="8589" y="805"/>
                  </a:lnTo>
                  <a:lnTo>
                    <a:pt x="8570" y="791"/>
                  </a:lnTo>
                  <a:lnTo>
                    <a:pt x="8529" y="766"/>
                  </a:lnTo>
                  <a:lnTo>
                    <a:pt x="8506" y="756"/>
                  </a:lnTo>
                  <a:lnTo>
                    <a:pt x="8484" y="747"/>
                  </a:lnTo>
                  <a:lnTo>
                    <a:pt x="8436" y="733"/>
                  </a:lnTo>
                  <a:lnTo>
                    <a:pt x="8385" y="724"/>
                  </a:lnTo>
                  <a:lnTo>
                    <a:pt x="8332" y="721"/>
                  </a:lnTo>
                  <a:lnTo>
                    <a:pt x="8300" y="722"/>
                  </a:lnTo>
                  <a:lnTo>
                    <a:pt x="8269" y="725"/>
                  </a:lnTo>
                  <a:lnTo>
                    <a:pt x="8239" y="731"/>
                  </a:lnTo>
                  <a:lnTo>
                    <a:pt x="8210" y="737"/>
                  </a:lnTo>
                  <a:lnTo>
                    <a:pt x="8182" y="747"/>
                  </a:lnTo>
                  <a:lnTo>
                    <a:pt x="8155" y="758"/>
                  </a:lnTo>
                  <a:lnTo>
                    <a:pt x="8130" y="772"/>
                  </a:lnTo>
                  <a:lnTo>
                    <a:pt x="8106" y="788"/>
                  </a:lnTo>
                  <a:lnTo>
                    <a:pt x="8083" y="806"/>
                  </a:lnTo>
                  <a:lnTo>
                    <a:pt x="8061" y="827"/>
                  </a:lnTo>
                  <a:lnTo>
                    <a:pt x="8040" y="850"/>
                  </a:lnTo>
                  <a:lnTo>
                    <a:pt x="8021" y="874"/>
                  </a:lnTo>
                  <a:lnTo>
                    <a:pt x="8002" y="902"/>
                  </a:lnTo>
                  <a:lnTo>
                    <a:pt x="7984" y="931"/>
                  </a:lnTo>
                  <a:lnTo>
                    <a:pt x="7968" y="963"/>
                  </a:lnTo>
                  <a:lnTo>
                    <a:pt x="7951" y="997"/>
                  </a:lnTo>
                  <a:lnTo>
                    <a:pt x="7942" y="964"/>
                  </a:lnTo>
                  <a:lnTo>
                    <a:pt x="7932" y="933"/>
                  </a:lnTo>
                  <a:lnTo>
                    <a:pt x="7908" y="876"/>
                  </a:lnTo>
                  <a:lnTo>
                    <a:pt x="7893" y="852"/>
                  </a:lnTo>
                  <a:lnTo>
                    <a:pt x="7885" y="840"/>
                  </a:lnTo>
                  <a:lnTo>
                    <a:pt x="7877" y="828"/>
                  </a:lnTo>
                  <a:lnTo>
                    <a:pt x="7869" y="818"/>
                  </a:lnTo>
                  <a:lnTo>
                    <a:pt x="7859" y="808"/>
                  </a:lnTo>
                  <a:lnTo>
                    <a:pt x="7840" y="791"/>
                  </a:lnTo>
                  <a:lnTo>
                    <a:pt x="7820" y="774"/>
                  </a:lnTo>
                  <a:lnTo>
                    <a:pt x="7798" y="760"/>
                  </a:lnTo>
                  <a:lnTo>
                    <a:pt x="7773" y="748"/>
                  </a:lnTo>
                  <a:lnTo>
                    <a:pt x="7748" y="738"/>
                  </a:lnTo>
                  <a:lnTo>
                    <a:pt x="7721" y="731"/>
                  </a:lnTo>
                  <a:lnTo>
                    <a:pt x="7692" y="725"/>
                  </a:lnTo>
                  <a:lnTo>
                    <a:pt x="7662" y="722"/>
                  </a:lnTo>
                  <a:lnTo>
                    <a:pt x="7630" y="721"/>
                  </a:lnTo>
                  <a:lnTo>
                    <a:pt x="7598" y="722"/>
                  </a:lnTo>
                  <a:lnTo>
                    <a:pt x="7567" y="725"/>
                  </a:lnTo>
                  <a:lnTo>
                    <a:pt x="7537" y="730"/>
                  </a:lnTo>
                  <a:lnTo>
                    <a:pt x="7509" y="737"/>
                  </a:lnTo>
                  <a:lnTo>
                    <a:pt x="7481" y="746"/>
                  </a:lnTo>
                  <a:lnTo>
                    <a:pt x="7456" y="757"/>
                  </a:lnTo>
                  <a:lnTo>
                    <a:pt x="7431" y="771"/>
                  </a:lnTo>
                  <a:lnTo>
                    <a:pt x="7408" y="786"/>
                  </a:lnTo>
                  <a:lnTo>
                    <a:pt x="7386" y="804"/>
                  </a:lnTo>
                  <a:lnTo>
                    <a:pt x="7364" y="824"/>
                  </a:lnTo>
                  <a:lnTo>
                    <a:pt x="7344" y="846"/>
                  </a:lnTo>
                  <a:lnTo>
                    <a:pt x="7324" y="871"/>
                  </a:lnTo>
                  <a:lnTo>
                    <a:pt x="7307" y="896"/>
                  </a:lnTo>
                  <a:lnTo>
                    <a:pt x="7288" y="925"/>
                  </a:lnTo>
                  <a:lnTo>
                    <a:pt x="7270" y="956"/>
                  </a:lnTo>
                  <a:lnTo>
                    <a:pt x="7253" y="990"/>
                  </a:lnTo>
                  <a:lnTo>
                    <a:pt x="7253" y="746"/>
                  </a:lnTo>
                  <a:lnTo>
                    <a:pt x="6927" y="746"/>
                  </a:lnTo>
                  <a:lnTo>
                    <a:pt x="6927" y="1342"/>
                  </a:lnTo>
                  <a:lnTo>
                    <a:pt x="6927" y="1938"/>
                  </a:lnTo>
                  <a:lnTo>
                    <a:pt x="7266" y="1938"/>
                  </a:lnTo>
                  <a:lnTo>
                    <a:pt x="7266" y="1384"/>
                  </a:lnTo>
                  <a:lnTo>
                    <a:pt x="7267" y="1329"/>
                  </a:lnTo>
                  <a:lnTo>
                    <a:pt x="7270" y="1283"/>
                  </a:lnTo>
                  <a:lnTo>
                    <a:pt x="7276" y="1242"/>
                  </a:lnTo>
                  <a:lnTo>
                    <a:pt x="7283" y="1207"/>
                  </a:lnTo>
                  <a:lnTo>
                    <a:pt x="7290" y="1187"/>
                  </a:lnTo>
                  <a:lnTo>
                    <a:pt x="7297" y="1169"/>
                  </a:lnTo>
                  <a:lnTo>
                    <a:pt x="7314" y="1135"/>
                  </a:lnTo>
                  <a:lnTo>
                    <a:pt x="7323" y="1118"/>
                  </a:lnTo>
                  <a:lnTo>
                    <a:pt x="7334" y="1104"/>
                  </a:lnTo>
                  <a:lnTo>
                    <a:pt x="7359" y="1078"/>
                  </a:lnTo>
                  <a:lnTo>
                    <a:pt x="7386" y="1058"/>
                  </a:lnTo>
                  <a:lnTo>
                    <a:pt x="7416" y="1043"/>
                  </a:lnTo>
                  <a:lnTo>
                    <a:pt x="7431" y="1037"/>
                  </a:lnTo>
                  <a:lnTo>
                    <a:pt x="7447" y="1034"/>
                  </a:lnTo>
                  <a:lnTo>
                    <a:pt x="7481" y="1031"/>
                  </a:lnTo>
                  <a:lnTo>
                    <a:pt x="7506" y="1032"/>
                  </a:lnTo>
                  <a:lnTo>
                    <a:pt x="7530" y="1037"/>
                  </a:lnTo>
                  <a:lnTo>
                    <a:pt x="7551" y="1045"/>
                  </a:lnTo>
                  <a:lnTo>
                    <a:pt x="7570" y="1056"/>
                  </a:lnTo>
                  <a:lnTo>
                    <a:pt x="7588" y="1069"/>
                  </a:lnTo>
                  <a:lnTo>
                    <a:pt x="7602" y="1086"/>
                  </a:lnTo>
                  <a:lnTo>
                    <a:pt x="7615" y="1106"/>
                  </a:lnTo>
                  <a:lnTo>
                    <a:pt x="7621" y="1116"/>
                  </a:lnTo>
                  <a:lnTo>
                    <a:pt x="7625" y="1127"/>
                  </a:lnTo>
                  <a:lnTo>
                    <a:pt x="7638" y="1165"/>
                  </a:lnTo>
                  <a:lnTo>
                    <a:pt x="7645" y="1211"/>
                  </a:lnTo>
                  <a:lnTo>
                    <a:pt x="7650" y="1268"/>
                  </a:lnTo>
                  <a:lnTo>
                    <a:pt x="7651" y="1342"/>
                  </a:lnTo>
                  <a:lnTo>
                    <a:pt x="7651" y="1938"/>
                  </a:lnTo>
                  <a:lnTo>
                    <a:pt x="7993" y="1938"/>
                  </a:lnTo>
                  <a:lnTo>
                    <a:pt x="7993" y="1364"/>
                  </a:lnTo>
                  <a:lnTo>
                    <a:pt x="7993" y="1325"/>
                  </a:lnTo>
                  <a:lnTo>
                    <a:pt x="7996" y="1287"/>
                  </a:lnTo>
                  <a:lnTo>
                    <a:pt x="8000" y="1253"/>
                  </a:lnTo>
                  <a:lnTo>
                    <a:pt x="8006" y="1221"/>
                  </a:lnTo>
                  <a:lnTo>
                    <a:pt x="8014" y="1191"/>
                  </a:lnTo>
                  <a:lnTo>
                    <a:pt x="8023" y="1164"/>
                  </a:lnTo>
                  <a:lnTo>
                    <a:pt x="8034" y="1138"/>
                  </a:lnTo>
                  <a:lnTo>
                    <a:pt x="8046" y="1116"/>
                  </a:lnTo>
                  <a:lnTo>
                    <a:pt x="8061" y="1096"/>
                  </a:lnTo>
                  <a:lnTo>
                    <a:pt x="8078" y="1079"/>
                  </a:lnTo>
                  <a:lnTo>
                    <a:pt x="8095" y="1064"/>
                  </a:lnTo>
                  <a:lnTo>
                    <a:pt x="8114" y="1052"/>
                  </a:lnTo>
                  <a:lnTo>
                    <a:pt x="8135" y="1043"/>
                  </a:lnTo>
                  <a:lnTo>
                    <a:pt x="8158" y="1036"/>
                  </a:lnTo>
                  <a:lnTo>
                    <a:pt x="8182" y="1032"/>
                  </a:lnTo>
                  <a:lnTo>
                    <a:pt x="8208" y="1031"/>
                  </a:lnTo>
                  <a:lnTo>
                    <a:pt x="8238" y="1032"/>
                  </a:lnTo>
                  <a:lnTo>
                    <a:pt x="8264" y="1037"/>
                  </a:lnTo>
                  <a:lnTo>
                    <a:pt x="8289" y="1046"/>
                  </a:lnTo>
                  <a:lnTo>
                    <a:pt x="8310" y="1058"/>
                  </a:lnTo>
                  <a:lnTo>
                    <a:pt x="8320" y="1066"/>
                  </a:lnTo>
                  <a:lnTo>
                    <a:pt x="8329" y="1075"/>
                  </a:lnTo>
                  <a:lnTo>
                    <a:pt x="8336" y="1084"/>
                  </a:lnTo>
                  <a:lnTo>
                    <a:pt x="8343" y="1095"/>
                  </a:lnTo>
                  <a:lnTo>
                    <a:pt x="8356" y="1118"/>
                  </a:lnTo>
                  <a:lnTo>
                    <a:pt x="8365" y="1146"/>
                  </a:lnTo>
                  <a:lnTo>
                    <a:pt x="8370" y="1178"/>
                  </a:lnTo>
                  <a:lnTo>
                    <a:pt x="8374" y="1219"/>
                  </a:lnTo>
                  <a:lnTo>
                    <a:pt x="8376" y="1268"/>
                  </a:lnTo>
                  <a:lnTo>
                    <a:pt x="8377" y="1324"/>
                  </a:lnTo>
                  <a:lnTo>
                    <a:pt x="8377" y="1938"/>
                  </a:lnTo>
                  <a:lnTo>
                    <a:pt x="8720" y="1938"/>
                  </a:lnTo>
                  <a:close/>
                  <a:moveTo>
                    <a:pt x="2622" y="369"/>
                  </a:moveTo>
                  <a:lnTo>
                    <a:pt x="2584" y="372"/>
                  </a:lnTo>
                  <a:lnTo>
                    <a:pt x="2566" y="376"/>
                  </a:lnTo>
                  <a:lnTo>
                    <a:pt x="2549" y="382"/>
                  </a:lnTo>
                  <a:lnTo>
                    <a:pt x="2534" y="390"/>
                  </a:lnTo>
                  <a:lnTo>
                    <a:pt x="2519" y="399"/>
                  </a:lnTo>
                  <a:lnTo>
                    <a:pt x="2494" y="421"/>
                  </a:lnTo>
                  <a:lnTo>
                    <a:pt x="2483" y="434"/>
                  </a:lnTo>
                  <a:lnTo>
                    <a:pt x="2473" y="450"/>
                  </a:lnTo>
                  <a:lnTo>
                    <a:pt x="2465" y="465"/>
                  </a:lnTo>
                  <a:lnTo>
                    <a:pt x="2458" y="483"/>
                  </a:lnTo>
                  <a:lnTo>
                    <a:pt x="2453" y="502"/>
                  </a:lnTo>
                  <a:lnTo>
                    <a:pt x="2449" y="521"/>
                  </a:lnTo>
                  <a:lnTo>
                    <a:pt x="2446" y="542"/>
                  </a:lnTo>
                  <a:lnTo>
                    <a:pt x="2446" y="564"/>
                  </a:lnTo>
                  <a:lnTo>
                    <a:pt x="2446" y="757"/>
                  </a:lnTo>
                  <a:lnTo>
                    <a:pt x="2692" y="757"/>
                  </a:lnTo>
                  <a:lnTo>
                    <a:pt x="2692" y="1027"/>
                  </a:lnTo>
                  <a:lnTo>
                    <a:pt x="2446" y="1027"/>
                  </a:lnTo>
                  <a:lnTo>
                    <a:pt x="2446" y="1483"/>
                  </a:lnTo>
                  <a:lnTo>
                    <a:pt x="2446" y="1938"/>
                  </a:lnTo>
                  <a:lnTo>
                    <a:pt x="2107" y="1938"/>
                  </a:lnTo>
                  <a:lnTo>
                    <a:pt x="2107" y="1483"/>
                  </a:lnTo>
                  <a:lnTo>
                    <a:pt x="2107" y="1027"/>
                  </a:lnTo>
                  <a:lnTo>
                    <a:pt x="1950" y="1027"/>
                  </a:lnTo>
                  <a:lnTo>
                    <a:pt x="1950" y="757"/>
                  </a:lnTo>
                  <a:lnTo>
                    <a:pt x="2107" y="757"/>
                  </a:lnTo>
                  <a:lnTo>
                    <a:pt x="2107" y="595"/>
                  </a:lnTo>
                  <a:lnTo>
                    <a:pt x="2110" y="501"/>
                  </a:lnTo>
                  <a:lnTo>
                    <a:pt x="2115" y="454"/>
                  </a:lnTo>
                  <a:lnTo>
                    <a:pt x="2122" y="407"/>
                  </a:lnTo>
                  <a:lnTo>
                    <a:pt x="2126" y="385"/>
                  </a:lnTo>
                  <a:lnTo>
                    <a:pt x="2130" y="363"/>
                  </a:lnTo>
                  <a:lnTo>
                    <a:pt x="2144" y="320"/>
                  </a:lnTo>
                  <a:lnTo>
                    <a:pt x="2152" y="299"/>
                  </a:lnTo>
                  <a:lnTo>
                    <a:pt x="2160" y="278"/>
                  </a:lnTo>
                  <a:lnTo>
                    <a:pt x="2182" y="240"/>
                  </a:lnTo>
                  <a:lnTo>
                    <a:pt x="2207" y="203"/>
                  </a:lnTo>
                  <a:lnTo>
                    <a:pt x="2222" y="186"/>
                  </a:lnTo>
                  <a:lnTo>
                    <a:pt x="2238" y="171"/>
                  </a:lnTo>
                  <a:lnTo>
                    <a:pt x="2255" y="156"/>
                  </a:lnTo>
                  <a:lnTo>
                    <a:pt x="2274" y="142"/>
                  </a:lnTo>
                  <a:lnTo>
                    <a:pt x="2316" y="118"/>
                  </a:lnTo>
                  <a:lnTo>
                    <a:pt x="2339" y="108"/>
                  </a:lnTo>
                  <a:lnTo>
                    <a:pt x="2365" y="99"/>
                  </a:lnTo>
                  <a:lnTo>
                    <a:pt x="2391" y="90"/>
                  </a:lnTo>
                  <a:lnTo>
                    <a:pt x="2419" y="83"/>
                  </a:lnTo>
                  <a:lnTo>
                    <a:pt x="2449" y="79"/>
                  </a:lnTo>
                  <a:lnTo>
                    <a:pt x="2481" y="74"/>
                  </a:lnTo>
                  <a:lnTo>
                    <a:pt x="2516" y="72"/>
                  </a:lnTo>
                  <a:lnTo>
                    <a:pt x="2551" y="71"/>
                  </a:lnTo>
                  <a:lnTo>
                    <a:pt x="2615" y="73"/>
                  </a:lnTo>
                  <a:lnTo>
                    <a:pt x="2668" y="79"/>
                  </a:lnTo>
                  <a:lnTo>
                    <a:pt x="2721" y="88"/>
                  </a:lnTo>
                  <a:lnTo>
                    <a:pt x="2782" y="100"/>
                  </a:lnTo>
                  <a:lnTo>
                    <a:pt x="2782" y="390"/>
                  </a:lnTo>
                  <a:lnTo>
                    <a:pt x="2717" y="375"/>
                  </a:lnTo>
                  <a:lnTo>
                    <a:pt x="2676" y="371"/>
                  </a:lnTo>
                  <a:lnTo>
                    <a:pt x="2622" y="369"/>
                  </a:lnTo>
                  <a:close/>
                  <a:moveTo>
                    <a:pt x="1447" y="1554"/>
                  </a:moveTo>
                  <a:lnTo>
                    <a:pt x="1649" y="1903"/>
                  </a:lnTo>
                  <a:lnTo>
                    <a:pt x="1599" y="1930"/>
                  </a:lnTo>
                  <a:lnTo>
                    <a:pt x="1549" y="1955"/>
                  </a:lnTo>
                  <a:lnTo>
                    <a:pt x="1498" y="1976"/>
                  </a:lnTo>
                  <a:lnTo>
                    <a:pt x="1446" y="1995"/>
                  </a:lnTo>
                  <a:lnTo>
                    <a:pt x="1394" y="2010"/>
                  </a:lnTo>
                  <a:lnTo>
                    <a:pt x="1342" y="2024"/>
                  </a:lnTo>
                  <a:lnTo>
                    <a:pt x="1288" y="2035"/>
                  </a:lnTo>
                  <a:lnTo>
                    <a:pt x="1235" y="2042"/>
                  </a:lnTo>
                  <a:lnTo>
                    <a:pt x="1183" y="2047"/>
                  </a:lnTo>
                  <a:lnTo>
                    <a:pt x="1130" y="2050"/>
                  </a:lnTo>
                  <a:lnTo>
                    <a:pt x="1076" y="2050"/>
                  </a:lnTo>
                  <a:lnTo>
                    <a:pt x="1023" y="2048"/>
                  </a:lnTo>
                  <a:lnTo>
                    <a:pt x="971" y="2042"/>
                  </a:lnTo>
                  <a:lnTo>
                    <a:pt x="919" y="2036"/>
                  </a:lnTo>
                  <a:lnTo>
                    <a:pt x="866" y="2026"/>
                  </a:lnTo>
                  <a:lnTo>
                    <a:pt x="815" y="2012"/>
                  </a:lnTo>
                  <a:lnTo>
                    <a:pt x="764" y="1998"/>
                  </a:lnTo>
                  <a:lnTo>
                    <a:pt x="714" y="1981"/>
                  </a:lnTo>
                  <a:lnTo>
                    <a:pt x="690" y="1971"/>
                  </a:lnTo>
                  <a:lnTo>
                    <a:pt x="665" y="1961"/>
                  </a:lnTo>
                  <a:lnTo>
                    <a:pt x="618" y="1939"/>
                  </a:lnTo>
                  <a:lnTo>
                    <a:pt x="570" y="1915"/>
                  </a:lnTo>
                  <a:lnTo>
                    <a:pt x="524" y="1888"/>
                  </a:lnTo>
                  <a:lnTo>
                    <a:pt x="480" y="1859"/>
                  </a:lnTo>
                  <a:lnTo>
                    <a:pt x="436" y="1828"/>
                  </a:lnTo>
                  <a:lnTo>
                    <a:pt x="394" y="1795"/>
                  </a:lnTo>
                  <a:lnTo>
                    <a:pt x="353" y="1759"/>
                  </a:lnTo>
                  <a:lnTo>
                    <a:pt x="314" y="1721"/>
                  </a:lnTo>
                  <a:lnTo>
                    <a:pt x="278" y="1681"/>
                  </a:lnTo>
                  <a:lnTo>
                    <a:pt x="242" y="1639"/>
                  </a:lnTo>
                  <a:lnTo>
                    <a:pt x="209" y="1596"/>
                  </a:lnTo>
                  <a:lnTo>
                    <a:pt x="177" y="1549"/>
                  </a:lnTo>
                  <a:lnTo>
                    <a:pt x="148" y="1502"/>
                  </a:lnTo>
                  <a:lnTo>
                    <a:pt x="120" y="1452"/>
                  </a:lnTo>
                  <a:lnTo>
                    <a:pt x="97" y="1400"/>
                  </a:lnTo>
                  <a:lnTo>
                    <a:pt x="74" y="1349"/>
                  </a:lnTo>
                  <a:lnTo>
                    <a:pt x="55" y="1298"/>
                  </a:lnTo>
                  <a:lnTo>
                    <a:pt x="40" y="1246"/>
                  </a:lnTo>
                  <a:lnTo>
                    <a:pt x="27" y="1193"/>
                  </a:lnTo>
                  <a:lnTo>
                    <a:pt x="17" y="1141"/>
                  </a:lnTo>
                  <a:lnTo>
                    <a:pt x="8" y="1087"/>
                  </a:lnTo>
                  <a:lnTo>
                    <a:pt x="3" y="1034"/>
                  </a:lnTo>
                  <a:lnTo>
                    <a:pt x="0" y="981"/>
                  </a:lnTo>
                  <a:lnTo>
                    <a:pt x="0" y="928"/>
                  </a:lnTo>
                  <a:lnTo>
                    <a:pt x="2" y="875"/>
                  </a:lnTo>
                  <a:lnTo>
                    <a:pt x="8" y="822"/>
                  </a:lnTo>
                  <a:lnTo>
                    <a:pt x="15" y="770"/>
                  </a:lnTo>
                  <a:lnTo>
                    <a:pt x="25" y="718"/>
                  </a:lnTo>
                  <a:lnTo>
                    <a:pt x="38" y="667"/>
                  </a:lnTo>
                  <a:lnTo>
                    <a:pt x="52" y="616"/>
                  </a:lnTo>
                  <a:lnTo>
                    <a:pt x="70" y="566"/>
                  </a:lnTo>
                  <a:lnTo>
                    <a:pt x="79" y="542"/>
                  </a:lnTo>
                  <a:lnTo>
                    <a:pt x="89" y="517"/>
                  </a:lnTo>
                  <a:lnTo>
                    <a:pt x="111" y="470"/>
                  </a:lnTo>
                  <a:lnTo>
                    <a:pt x="135" y="422"/>
                  </a:lnTo>
                  <a:lnTo>
                    <a:pt x="162" y="376"/>
                  </a:lnTo>
                  <a:lnTo>
                    <a:pt x="191" y="332"/>
                  </a:lnTo>
                  <a:lnTo>
                    <a:pt x="222" y="289"/>
                  </a:lnTo>
                  <a:lnTo>
                    <a:pt x="255" y="246"/>
                  </a:lnTo>
                  <a:lnTo>
                    <a:pt x="291" y="205"/>
                  </a:lnTo>
                  <a:lnTo>
                    <a:pt x="329" y="166"/>
                  </a:lnTo>
                  <a:lnTo>
                    <a:pt x="369" y="130"/>
                  </a:lnTo>
                  <a:lnTo>
                    <a:pt x="411" y="94"/>
                  </a:lnTo>
                  <a:lnTo>
                    <a:pt x="455" y="61"/>
                  </a:lnTo>
                  <a:lnTo>
                    <a:pt x="501" y="29"/>
                  </a:lnTo>
                  <a:lnTo>
                    <a:pt x="550" y="0"/>
                  </a:lnTo>
                  <a:lnTo>
                    <a:pt x="825" y="74"/>
                  </a:lnTo>
                  <a:lnTo>
                    <a:pt x="751" y="349"/>
                  </a:lnTo>
                  <a:lnTo>
                    <a:pt x="720" y="369"/>
                  </a:lnTo>
                  <a:lnTo>
                    <a:pt x="690" y="389"/>
                  </a:lnTo>
                  <a:lnTo>
                    <a:pt x="661" y="411"/>
                  </a:lnTo>
                  <a:lnTo>
                    <a:pt x="634" y="434"/>
                  </a:lnTo>
                  <a:lnTo>
                    <a:pt x="608" y="459"/>
                  </a:lnTo>
                  <a:lnTo>
                    <a:pt x="584" y="484"/>
                  </a:lnTo>
                  <a:lnTo>
                    <a:pt x="540" y="537"/>
                  </a:lnTo>
                  <a:lnTo>
                    <a:pt x="520" y="565"/>
                  </a:lnTo>
                  <a:lnTo>
                    <a:pt x="502" y="594"/>
                  </a:lnTo>
                  <a:lnTo>
                    <a:pt x="485" y="624"/>
                  </a:lnTo>
                  <a:lnTo>
                    <a:pt x="470" y="655"/>
                  </a:lnTo>
                  <a:lnTo>
                    <a:pt x="455" y="686"/>
                  </a:lnTo>
                  <a:lnTo>
                    <a:pt x="443" y="717"/>
                  </a:lnTo>
                  <a:lnTo>
                    <a:pt x="424" y="782"/>
                  </a:lnTo>
                  <a:lnTo>
                    <a:pt x="410" y="848"/>
                  </a:lnTo>
                  <a:lnTo>
                    <a:pt x="403" y="915"/>
                  </a:lnTo>
                  <a:lnTo>
                    <a:pt x="401" y="948"/>
                  </a:lnTo>
                  <a:lnTo>
                    <a:pt x="401" y="982"/>
                  </a:lnTo>
                  <a:lnTo>
                    <a:pt x="403" y="1015"/>
                  </a:lnTo>
                  <a:lnTo>
                    <a:pt x="406" y="1048"/>
                  </a:lnTo>
                  <a:lnTo>
                    <a:pt x="411" y="1082"/>
                  </a:lnTo>
                  <a:lnTo>
                    <a:pt x="418" y="1115"/>
                  </a:lnTo>
                  <a:lnTo>
                    <a:pt x="426" y="1147"/>
                  </a:lnTo>
                  <a:lnTo>
                    <a:pt x="435" y="1179"/>
                  </a:lnTo>
                  <a:lnTo>
                    <a:pt x="448" y="1211"/>
                  </a:lnTo>
                  <a:lnTo>
                    <a:pt x="460" y="1242"/>
                  </a:lnTo>
                  <a:lnTo>
                    <a:pt x="475" y="1273"/>
                  </a:lnTo>
                  <a:lnTo>
                    <a:pt x="491" y="1303"/>
                  </a:lnTo>
                  <a:lnTo>
                    <a:pt x="509" y="1332"/>
                  </a:lnTo>
                  <a:lnTo>
                    <a:pt x="528" y="1359"/>
                  </a:lnTo>
                  <a:lnTo>
                    <a:pt x="570" y="1412"/>
                  </a:lnTo>
                  <a:lnTo>
                    <a:pt x="593" y="1436"/>
                  </a:lnTo>
                  <a:lnTo>
                    <a:pt x="618" y="1459"/>
                  </a:lnTo>
                  <a:lnTo>
                    <a:pt x="643" y="1482"/>
                  </a:lnTo>
                  <a:lnTo>
                    <a:pt x="669" y="1503"/>
                  </a:lnTo>
                  <a:lnTo>
                    <a:pt x="724" y="1540"/>
                  </a:lnTo>
                  <a:lnTo>
                    <a:pt x="753" y="1557"/>
                  </a:lnTo>
                  <a:lnTo>
                    <a:pt x="783" y="1573"/>
                  </a:lnTo>
                  <a:lnTo>
                    <a:pt x="844" y="1600"/>
                  </a:lnTo>
                  <a:lnTo>
                    <a:pt x="876" y="1612"/>
                  </a:lnTo>
                  <a:lnTo>
                    <a:pt x="909" y="1622"/>
                  </a:lnTo>
                  <a:lnTo>
                    <a:pt x="974" y="1636"/>
                  </a:lnTo>
                  <a:lnTo>
                    <a:pt x="1007" y="1642"/>
                  </a:lnTo>
                  <a:lnTo>
                    <a:pt x="1042" y="1645"/>
                  </a:lnTo>
                  <a:lnTo>
                    <a:pt x="1075" y="1647"/>
                  </a:lnTo>
                  <a:lnTo>
                    <a:pt x="1110" y="1647"/>
                  </a:lnTo>
                  <a:lnTo>
                    <a:pt x="1144" y="1646"/>
                  </a:lnTo>
                  <a:lnTo>
                    <a:pt x="1178" y="1643"/>
                  </a:lnTo>
                  <a:lnTo>
                    <a:pt x="1213" y="1638"/>
                  </a:lnTo>
                  <a:lnTo>
                    <a:pt x="1246" y="1632"/>
                  </a:lnTo>
                  <a:lnTo>
                    <a:pt x="1281" y="1624"/>
                  </a:lnTo>
                  <a:lnTo>
                    <a:pt x="1315" y="1614"/>
                  </a:lnTo>
                  <a:lnTo>
                    <a:pt x="1348" y="1602"/>
                  </a:lnTo>
                  <a:lnTo>
                    <a:pt x="1382" y="1587"/>
                  </a:lnTo>
                  <a:lnTo>
                    <a:pt x="1415" y="1572"/>
                  </a:lnTo>
                  <a:lnTo>
                    <a:pt x="1447" y="1554"/>
                  </a:lnTo>
                  <a:close/>
                  <a:moveTo>
                    <a:pt x="565" y="1259"/>
                  </a:moveTo>
                  <a:lnTo>
                    <a:pt x="598" y="1309"/>
                  </a:lnTo>
                  <a:lnTo>
                    <a:pt x="634" y="1356"/>
                  </a:lnTo>
                  <a:lnTo>
                    <a:pt x="676" y="1398"/>
                  </a:lnTo>
                  <a:lnTo>
                    <a:pt x="721" y="1435"/>
                  </a:lnTo>
                  <a:lnTo>
                    <a:pt x="745" y="1453"/>
                  </a:lnTo>
                  <a:lnTo>
                    <a:pt x="770" y="1468"/>
                  </a:lnTo>
                  <a:lnTo>
                    <a:pt x="821" y="1497"/>
                  </a:lnTo>
                  <a:lnTo>
                    <a:pt x="847" y="1509"/>
                  </a:lnTo>
                  <a:lnTo>
                    <a:pt x="875" y="1520"/>
                  </a:lnTo>
                  <a:lnTo>
                    <a:pt x="932" y="1539"/>
                  </a:lnTo>
                  <a:lnTo>
                    <a:pt x="990" y="1553"/>
                  </a:lnTo>
                  <a:lnTo>
                    <a:pt x="1049" y="1560"/>
                  </a:lnTo>
                  <a:lnTo>
                    <a:pt x="1108" y="1563"/>
                  </a:lnTo>
                  <a:lnTo>
                    <a:pt x="1168" y="1558"/>
                  </a:lnTo>
                  <a:lnTo>
                    <a:pt x="1228" y="1548"/>
                  </a:lnTo>
                  <a:lnTo>
                    <a:pt x="1288" y="1533"/>
                  </a:lnTo>
                  <a:lnTo>
                    <a:pt x="1347" y="1509"/>
                  </a:lnTo>
                  <a:lnTo>
                    <a:pt x="1405" y="1480"/>
                  </a:lnTo>
                  <a:lnTo>
                    <a:pt x="1460" y="1445"/>
                  </a:lnTo>
                  <a:lnTo>
                    <a:pt x="1485" y="1426"/>
                  </a:lnTo>
                  <a:lnTo>
                    <a:pt x="1508" y="1405"/>
                  </a:lnTo>
                  <a:lnTo>
                    <a:pt x="1553" y="1362"/>
                  </a:lnTo>
                  <a:lnTo>
                    <a:pt x="1592" y="1314"/>
                  </a:lnTo>
                  <a:lnTo>
                    <a:pt x="1625" y="1264"/>
                  </a:lnTo>
                  <a:lnTo>
                    <a:pt x="1639" y="1237"/>
                  </a:lnTo>
                  <a:lnTo>
                    <a:pt x="1653" y="1211"/>
                  </a:lnTo>
                  <a:lnTo>
                    <a:pt x="1665" y="1184"/>
                  </a:lnTo>
                  <a:lnTo>
                    <a:pt x="1676" y="1156"/>
                  </a:lnTo>
                  <a:lnTo>
                    <a:pt x="1693" y="1099"/>
                  </a:lnTo>
                  <a:lnTo>
                    <a:pt x="1705" y="1042"/>
                  </a:lnTo>
                  <a:lnTo>
                    <a:pt x="1709" y="1013"/>
                  </a:lnTo>
                  <a:lnTo>
                    <a:pt x="1712" y="983"/>
                  </a:lnTo>
                  <a:lnTo>
                    <a:pt x="1713" y="924"/>
                  </a:lnTo>
                  <a:lnTo>
                    <a:pt x="1708" y="866"/>
                  </a:lnTo>
                  <a:lnTo>
                    <a:pt x="1697" y="807"/>
                  </a:lnTo>
                  <a:lnTo>
                    <a:pt x="1682" y="751"/>
                  </a:lnTo>
                  <a:lnTo>
                    <a:pt x="1661" y="696"/>
                  </a:lnTo>
                  <a:lnTo>
                    <a:pt x="1634" y="643"/>
                  </a:lnTo>
                  <a:lnTo>
                    <a:pt x="1602" y="593"/>
                  </a:lnTo>
                  <a:lnTo>
                    <a:pt x="1564" y="547"/>
                  </a:lnTo>
                  <a:lnTo>
                    <a:pt x="1523" y="505"/>
                  </a:lnTo>
                  <a:lnTo>
                    <a:pt x="1501" y="485"/>
                  </a:lnTo>
                  <a:lnTo>
                    <a:pt x="1478" y="467"/>
                  </a:lnTo>
                  <a:lnTo>
                    <a:pt x="1454" y="450"/>
                  </a:lnTo>
                  <a:lnTo>
                    <a:pt x="1430" y="434"/>
                  </a:lnTo>
                  <a:lnTo>
                    <a:pt x="1378" y="405"/>
                  </a:lnTo>
                  <a:lnTo>
                    <a:pt x="1352" y="393"/>
                  </a:lnTo>
                  <a:lnTo>
                    <a:pt x="1324" y="382"/>
                  </a:lnTo>
                  <a:lnTo>
                    <a:pt x="1268" y="363"/>
                  </a:lnTo>
                  <a:lnTo>
                    <a:pt x="1240" y="356"/>
                  </a:lnTo>
                  <a:lnTo>
                    <a:pt x="1211" y="350"/>
                  </a:lnTo>
                  <a:lnTo>
                    <a:pt x="1181" y="345"/>
                  </a:lnTo>
                  <a:lnTo>
                    <a:pt x="1152" y="342"/>
                  </a:lnTo>
                  <a:lnTo>
                    <a:pt x="1092" y="340"/>
                  </a:lnTo>
                  <a:lnTo>
                    <a:pt x="1031" y="344"/>
                  </a:lnTo>
                  <a:lnTo>
                    <a:pt x="971" y="354"/>
                  </a:lnTo>
                  <a:lnTo>
                    <a:pt x="911" y="370"/>
                  </a:lnTo>
                  <a:lnTo>
                    <a:pt x="881" y="381"/>
                  </a:lnTo>
                  <a:lnTo>
                    <a:pt x="852" y="393"/>
                  </a:lnTo>
                  <a:lnTo>
                    <a:pt x="823" y="406"/>
                  </a:lnTo>
                  <a:lnTo>
                    <a:pt x="794" y="423"/>
                  </a:lnTo>
                  <a:lnTo>
                    <a:pt x="766" y="440"/>
                  </a:lnTo>
                  <a:lnTo>
                    <a:pt x="740" y="457"/>
                  </a:lnTo>
                  <a:lnTo>
                    <a:pt x="714" y="476"/>
                  </a:lnTo>
                  <a:lnTo>
                    <a:pt x="691" y="497"/>
                  </a:lnTo>
                  <a:lnTo>
                    <a:pt x="646" y="541"/>
                  </a:lnTo>
                  <a:lnTo>
                    <a:pt x="609" y="589"/>
                  </a:lnTo>
                  <a:lnTo>
                    <a:pt x="574" y="639"/>
                  </a:lnTo>
                  <a:lnTo>
                    <a:pt x="560" y="664"/>
                  </a:lnTo>
                  <a:lnTo>
                    <a:pt x="546" y="692"/>
                  </a:lnTo>
                  <a:lnTo>
                    <a:pt x="534" y="718"/>
                  </a:lnTo>
                  <a:lnTo>
                    <a:pt x="524" y="746"/>
                  </a:lnTo>
                  <a:lnTo>
                    <a:pt x="506" y="803"/>
                  </a:lnTo>
                  <a:lnTo>
                    <a:pt x="494" y="861"/>
                  </a:lnTo>
                  <a:lnTo>
                    <a:pt x="488" y="920"/>
                  </a:lnTo>
                  <a:lnTo>
                    <a:pt x="486" y="978"/>
                  </a:lnTo>
                  <a:lnTo>
                    <a:pt x="491" y="1037"/>
                  </a:lnTo>
                  <a:lnTo>
                    <a:pt x="495" y="1066"/>
                  </a:lnTo>
                  <a:lnTo>
                    <a:pt x="501" y="1095"/>
                  </a:lnTo>
                  <a:lnTo>
                    <a:pt x="516" y="1152"/>
                  </a:lnTo>
                  <a:lnTo>
                    <a:pt x="538" y="1207"/>
                  </a:lnTo>
                  <a:lnTo>
                    <a:pt x="565" y="12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7" name="Freeform 8"/>
            <p:cNvSpPr>
              <a:spLocks/>
            </p:cNvSpPr>
            <p:nvPr userDrawn="1"/>
          </p:nvSpPr>
          <p:spPr bwMode="auto">
            <a:xfrm>
              <a:off x="10176312" y="5785848"/>
              <a:ext cx="730621" cy="426079"/>
            </a:xfrm>
            <a:custGeom>
              <a:avLst/>
              <a:gdLst>
                <a:gd name="T0" fmla="*/ 0 w 5232"/>
                <a:gd name="T1" fmla="*/ 3051 h 3051"/>
                <a:gd name="T2" fmla="*/ 653 w 5232"/>
                <a:gd name="T3" fmla="*/ 3051 h 3051"/>
                <a:gd name="T4" fmla="*/ 1307 w 5232"/>
                <a:gd name="T5" fmla="*/ 3051 h 3051"/>
                <a:gd name="T6" fmla="*/ 1962 w 5232"/>
                <a:gd name="T7" fmla="*/ 3051 h 3051"/>
                <a:gd name="T8" fmla="*/ 2616 w 5232"/>
                <a:gd name="T9" fmla="*/ 3051 h 3051"/>
                <a:gd name="T10" fmla="*/ 3269 w 5232"/>
                <a:gd name="T11" fmla="*/ 3051 h 3051"/>
                <a:gd name="T12" fmla="*/ 3923 w 5232"/>
                <a:gd name="T13" fmla="*/ 3051 h 3051"/>
                <a:gd name="T14" fmla="*/ 4578 w 5232"/>
                <a:gd name="T15" fmla="*/ 3051 h 3051"/>
                <a:gd name="T16" fmla="*/ 5232 w 5232"/>
                <a:gd name="T17" fmla="*/ 3051 h 3051"/>
                <a:gd name="T18" fmla="*/ 5232 w 5232"/>
                <a:gd name="T19" fmla="*/ 2288 h 3051"/>
                <a:gd name="T20" fmla="*/ 5232 w 5232"/>
                <a:gd name="T21" fmla="*/ 1525 h 3051"/>
                <a:gd name="T22" fmla="*/ 5232 w 5232"/>
                <a:gd name="T23" fmla="*/ 762 h 3051"/>
                <a:gd name="T24" fmla="*/ 5232 w 5232"/>
                <a:gd name="T25" fmla="*/ 0 h 3051"/>
                <a:gd name="T26" fmla="*/ 4578 w 5232"/>
                <a:gd name="T27" fmla="*/ 0 h 3051"/>
                <a:gd name="T28" fmla="*/ 3923 w 5232"/>
                <a:gd name="T29" fmla="*/ 0 h 3051"/>
                <a:gd name="T30" fmla="*/ 3269 w 5232"/>
                <a:gd name="T31" fmla="*/ 0 h 3051"/>
                <a:gd name="T32" fmla="*/ 2616 w 5232"/>
                <a:gd name="T33" fmla="*/ 0 h 3051"/>
                <a:gd name="T34" fmla="*/ 1962 w 5232"/>
                <a:gd name="T35" fmla="*/ 0 h 3051"/>
                <a:gd name="T36" fmla="*/ 1307 w 5232"/>
                <a:gd name="T37" fmla="*/ 0 h 3051"/>
                <a:gd name="T38" fmla="*/ 653 w 5232"/>
                <a:gd name="T39" fmla="*/ 0 h 3051"/>
                <a:gd name="T40" fmla="*/ 0 w 5232"/>
                <a:gd name="T41" fmla="*/ 0 h 3051"/>
                <a:gd name="T42" fmla="*/ 0 w 5232"/>
                <a:gd name="T43" fmla="*/ 762 h 3051"/>
                <a:gd name="T44" fmla="*/ 0 w 5232"/>
                <a:gd name="T45" fmla="*/ 1525 h 3051"/>
                <a:gd name="T46" fmla="*/ 0 w 5232"/>
                <a:gd name="T47" fmla="*/ 2288 h 3051"/>
                <a:gd name="T48" fmla="*/ 0 w 5232"/>
                <a:gd name="T49" fmla="*/ 3051 h 3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32" h="3051">
                  <a:moveTo>
                    <a:pt x="0" y="3051"/>
                  </a:moveTo>
                  <a:lnTo>
                    <a:pt x="653" y="3051"/>
                  </a:lnTo>
                  <a:lnTo>
                    <a:pt x="1307" y="3051"/>
                  </a:lnTo>
                  <a:lnTo>
                    <a:pt x="1962" y="3051"/>
                  </a:lnTo>
                  <a:lnTo>
                    <a:pt x="2616" y="3051"/>
                  </a:lnTo>
                  <a:lnTo>
                    <a:pt x="3269" y="3051"/>
                  </a:lnTo>
                  <a:lnTo>
                    <a:pt x="3923" y="3051"/>
                  </a:lnTo>
                  <a:lnTo>
                    <a:pt x="4578" y="3051"/>
                  </a:lnTo>
                  <a:lnTo>
                    <a:pt x="5232" y="3051"/>
                  </a:lnTo>
                  <a:lnTo>
                    <a:pt x="5232" y="2288"/>
                  </a:lnTo>
                  <a:lnTo>
                    <a:pt x="5232" y="1525"/>
                  </a:lnTo>
                  <a:lnTo>
                    <a:pt x="5232" y="762"/>
                  </a:lnTo>
                  <a:lnTo>
                    <a:pt x="5232" y="0"/>
                  </a:lnTo>
                  <a:lnTo>
                    <a:pt x="4578" y="0"/>
                  </a:lnTo>
                  <a:lnTo>
                    <a:pt x="3923" y="0"/>
                  </a:lnTo>
                  <a:lnTo>
                    <a:pt x="3269" y="0"/>
                  </a:lnTo>
                  <a:lnTo>
                    <a:pt x="2616" y="0"/>
                  </a:lnTo>
                  <a:lnTo>
                    <a:pt x="1962" y="0"/>
                  </a:lnTo>
                  <a:lnTo>
                    <a:pt x="1307" y="0"/>
                  </a:lnTo>
                  <a:lnTo>
                    <a:pt x="653" y="0"/>
                  </a:lnTo>
                  <a:lnTo>
                    <a:pt x="0" y="0"/>
                  </a:lnTo>
                  <a:lnTo>
                    <a:pt x="0" y="762"/>
                  </a:lnTo>
                  <a:lnTo>
                    <a:pt x="0" y="1525"/>
                  </a:lnTo>
                  <a:lnTo>
                    <a:pt x="0" y="2288"/>
                  </a:lnTo>
                  <a:lnTo>
                    <a:pt x="0" y="3051"/>
                  </a:lnTo>
                  <a:close/>
                </a:path>
              </a:pathLst>
            </a:custGeom>
            <a:solidFill>
              <a:srgbClr val="377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8" name="Freeform 9"/>
            <p:cNvSpPr>
              <a:spLocks noEditPoints="1"/>
            </p:cNvSpPr>
            <p:nvPr userDrawn="1"/>
          </p:nvSpPr>
          <p:spPr bwMode="auto">
            <a:xfrm>
              <a:off x="10293658" y="5873858"/>
              <a:ext cx="491737" cy="272412"/>
            </a:xfrm>
            <a:custGeom>
              <a:avLst/>
              <a:gdLst>
                <a:gd name="T0" fmla="*/ 278 w 3517"/>
                <a:gd name="T1" fmla="*/ 1564 h 1954"/>
                <a:gd name="T2" fmla="*/ 190 w 3517"/>
                <a:gd name="T3" fmla="*/ 1377 h 1954"/>
                <a:gd name="T4" fmla="*/ 466 w 3517"/>
                <a:gd name="T5" fmla="*/ 1198 h 1954"/>
                <a:gd name="T6" fmla="*/ 105 w 3517"/>
                <a:gd name="T7" fmla="*/ 1218 h 1954"/>
                <a:gd name="T8" fmla="*/ 22 w 3517"/>
                <a:gd name="T9" fmla="*/ 1558 h 1954"/>
                <a:gd name="T10" fmla="*/ 508 w 3517"/>
                <a:gd name="T11" fmla="*/ 903 h 1954"/>
                <a:gd name="T12" fmla="*/ 824 w 3517"/>
                <a:gd name="T13" fmla="*/ 1318 h 1954"/>
                <a:gd name="T14" fmla="*/ 1034 w 3517"/>
                <a:gd name="T15" fmla="*/ 1269 h 1954"/>
                <a:gd name="T16" fmla="*/ 800 w 3517"/>
                <a:gd name="T17" fmla="*/ 1165 h 1954"/>
                <a:gd name="T18" fmla="*/ 1476 w 3517"/>
                <a:gd name="T19" fmla="*/ 1679 h 1954"/>
                <a:gd name="T20" fmla="*/ 1372 w 3517"/>
                <a:gd name="T21" fmla="*/ 1161 h 1954"/>
                <a:gd name="T22" fmla="*/ 1104 w 3517"/>
                <a:gd name="T23" fmla="*/ 1333 h 1954"/>
                <a:gd name="T24" fmla="*/ 1201 w 3517"/>
                <a:gd name="T25" fmla="*/ 1684 h 1954"/>
                <a:gd name="T26" fmla="*/ 1288 w 3517"/>
                <a:gd name="T27" fmla="*/ 1514 h 1954"/>
                <a:gd name="T28" fmla="*/ 1370 w 3517"/>
                <a:gd name="T29" fmla="*/ 1318 h 1954"/>
                <a:gd name="T30" fmla="*/ 1506 w 3517"/>
                <a:gd name="T31" fmla="*/ 1482 h 1954"/>
                <a:gd name="T32" fmla="*/ 1977 w 3517"/>
                <a:gd name="T33" fmla="*/ 1198 h 1954"/>
                <a:gd name="T34" fmla="*/ 1980 w 3517"/>
                <a:gd name="T35" fmla="*/ 1323 h 1954"/>
                <a:gd name="T36" fmla="*/ 2300 w 3517"/>
                <a:gd name="T37" fmla="*/ 1364 h 1954"/>
                <a:gd name="T38" fmla="*/ 2142 w 3517"/>
                <a:gd name="T39" fmla="*/ 1162 h 1954"/>
                <a:gd name="T40" fmla="*/ 2902 w 3517"/>
                <a:gd name="T41" fmla="*/ 1848 h 1954"/>
                <a:gd name="T42" fmla="*/ 2659 w 3517"/>
                <a:gd name="T43" fmla="*/ 1168 h 1954"/>
                <a:gd name="T44" fmla="*/ 2361 w 3517"/>
                <a:gd name="T45" fmla="*/ 1305 h 1954"/>
                <a:gd name="T46" fmla="*/ 2418 w 3517"/>
                <a:gd name="T47" fmla="*/ 1656 h 1954"/>
                <a:gd name="T48" fmla="*/ 2734 w 3517"/>
                <a:gd name="T49" fmla="*/ 1666 h 1954"/>
                <a:gd name="T50" fmla="*/ 2605 w 3517"/>
                <a:gd name="T51" fmla="*/ 1790 h 1954"/>
                <a:gd name="T52" fmla="*/ 2549 w 3517"/>
                <a:gd name="T53" fmla="*/ 1532 h 1954"/>
                <a:gd name="T54" fmla="*/ 2599 w 3517"/>
                <a:gd name="T55" fmla="*/ 1323 h 1954"/>
                <a:gd name="T56" fmla="*/ 2756 w 3517"/>
                <a:gd name="T57" fmla="*/ 1468 h 1954"/>
                <a:gd name="T58" fmla="*/ 3141 w 3517"/>
                <a:gd name="T59" fmla="*/ 1179 h 1954"/>
                <a:gd name="T60" fmla="*/ 2975 w 3517"/>
                <a:gd name="T61" fmla="*/ 1475 h 1954"/>
                <a:gd name="T62" fmla="*/ 3206 w 3517"/>
                <a:gd name="T63" fmla="*/ 1719 h 1954"/>
                <a:gd name="T64" fmla="*/ 3308 w 3517"/>
                <a:gd name="T65" fmla="*/ 1577 h 1954"/>
                <a:gd name="T66" fmla="*/ 3512 w 3517"/>
                <a:gd name="T67" fmla="*/ 1376 h 1954"/>
                <a:gd name="T68" fmla="*/ 3284 w 3517"/>
                <a:gd name="T69" fmla="*/ 1161 h 1954"/>
                <a:gd name="T70" fmla="*/ 3150 w 3517"/>
                <a:gd name="T71" fmla="*/ 1336 h 1954"/>
                <a:gd name="T72" fmla="*/ 253 w 3517"/>
                <a:gd name="T73" fmla="*/ 744 h 1954"/>
                <a:gd name="T74" fmla="*/ 99 w 3517"/>
                <a:gd name="T75" fmla="*/ 630 h 1954"/>
                <a:gd name="T76" fmla="*/ 854 w 3517"/>
                <a:gd name="T77" fmla="*/ 734 h 1954"/>
                <a:gd name="T78" fmla="*/ 486 w 3517"/>
                <a:gd name="T79" fmla="*/ 790 h 1954"/>
                <a:gd name="T80" fmla="*/ 341 w 3517"/>
                <a:gd name="T81" fmla="*/ 463 h 1954"/>
                <a:gd name="T82" fmla="*/ 630 w 3517"/>
                <a:gd name="T83" fmla="*/ 255 h 1954"/>
                <a:gd name="T84" fmla="*/ 920 w 3517"/>
                <a:gd name="T85" fmla="*/ 463 h 1954"/>
                <a:gd name="T86" fmla="*/ 643 w 3517"/>
                <a:gd name="T87" fmla="*/ 662 h 1954"/>
                <a:gd name="T88" fmla="*/ 733 w 3517"/>
                <a:gd name="T89" fmla="*/ 465 h 1954"/>
                <a:gd name="T90" fmla="*/ 516 w 3517"/>
                <a:gd name="T91" fmla="*/ 488 h 1954"/>
                <a:gd name="T92" fmla="*/ 1555 w 3517"/>
                <a:gd name="T93" fmla="*/ 440 h 1954"/>
                <a:gd name="T94" fmla="*/ 1383 w 3517"/>
                <a:gd name="T95" fmla="*/ 484 h 1954"/>
                <a:gd name="T96" fmla="*/ 1550 w 3517"/>
                <a:gd name="T97" fmla="*/ 255 h 1954"/>
                <a:gd name="T98" fmla="*/ 1745 w 3517"/>
                <a:gd name="T99" fmla="*/ 422 h 1954"/>
                <a:gd name="T100" fmla="*/ 2184 w 3517"/>
                <a:gd name="T101" fmla="*/ 799 h 1954"/>
                <a:gd name="T102" fmla="*/ 2062 w 3517"/>
                <a:gd name="T103" fmla="*/ 60 h 1954"/>
                <a:gd name="T104" fmla="*/ 2760 w 3517"/>
                <a:gd name="T105" fmla="*/ 258 h 1954"/>
                <a:gd name="T106" fmla="*/ 2927 w 3517"/>
                <a:gd name="T107" fmla="*/ 448 h 1954"/>
                <a:gd name="T108" fmla="*/ 2627 w 3517"/>
                <a:gd name="T109" fmla="*/ 412 h 1954"/>
                <a:gd name="T110" fmla="*/ 3128 w 3517"/>
                <a:gd name="T111" fmla="*/ 592 h 1954"/>
                <a:gd name="T112" fmla="*/ 3386 w 3517"/>
                <a:gd name="T113" fmla="*/ 645 h 1954"/>
                <a:gd name="T114" fmla="*/ 3124 w 3517"/>
                <a:gd name="T115" fmla="*/ 796 h 1954"/>
                <a:gd name="T116" fmla="*/ 2965 w 3517"/>
                <a:gd name="T117" fmla="*/ 492 h 1954"/>
                <a:gd name="T118" fmla="*/ 3213 w 3517"/>
                <a:gd name="T119" fmla="*/ 258 h 1954"/>
                <a:gd name="T120" fmla="*/ 3483 w 3517"/>
                <a:gd name="T121" fmla="*/ 402 h 1954"/>
                <a:gd name="T122" fmla="*/ 3257 w 3517"/>
                <a:gd name="T123" fmla="*/ 382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17" h="1954">
                  <a:moveTo>
                    <a:pt x="296" y="1724"/>
                  </a:moveTo>
                  <a:lnTo>
                    <a:pt x="309" y="1724"/>
                  </a:lnTo>
                  <a:lnTo>
                    <a:pt x="322" y="1724"/>
                  </a:lnTo>
                  <a:lnTo>
                    <a:pt x="336" y="1723"/>
                  </a:lnTo>
                  <a:lnTo>
                    <a:pt x="349" y="1720"/>
                  </a:lnTo>
                  <a:lnTo>
                    <a:pt x="361" y="1719"/>
                  </a:lnTo>
                  <a:lnTo>
                    <a:pt x="373" y="1717"/>
                  </a:lnTo>
                  <a:lnTo>
                    <a:pt x="398" y="1710"/>
                  </a:lnTo>
                  <a:lnTo>
                    <a:pt x="421" y="1704"/>
                  </a:lnTo>
                  <a:lnTo>
                    <a:pt x="432" y="1699"/>
                  </a:lnTo>
                  <a:lnTo>
                    <a:pt x="443" y="1695"/>
                  </a:lnTo>
                  <a:lnTo>
                    <a:pt x="466" y="1684"/>
                  </a:lnTo>
                  <a:lnTo>
                    <a:pt x="487" y="1673"/>
                  </a:lnTo>
                  <a:lnTo>
                    <a:pt x="416" y="1534"/>
                  </a:lnTo>
                  <a:lnTo>
                    <a:pt x="403" y="1540"/>
                  </a:lnTo>
                  <a:lnTo>
                    <a:pt x="391" y="1547"/>
                  </a:lnTo>
                  <a:lnTo>
                    <a:pt x="379" y="1553"/>
                  </a:lnTo>
                  <a:lnTo>
                    <a:pt x="372" y="1555"/>
                  </a:lnTo>
                  <a:lnTo>
                    <a:pt x="366" y="1557"/>
                  </a:lnTo>
                  <a:lnTo>
                    <a:pt x="351" y="1560"/>
                  </a:lnTo>
                  <a:lnTo>
                    <a:pt x="343" y="1563"/>
                  </a:lnTo>
                  <a:lnTo>
                    <a:pt x="336" y="1564"/>
                  </a:lnTo>
                  <a:lnTo>
                    <a:pt x="328" y="1565"/>
                  </a:lnTo>
                  <a:lnTo>
                    <a:pt x="320" y="1565"/>
                  </a:lnTo>
                  <a:lnTo>
                    <a:pt x="303" y="1566"/>
                  </a:lnTo>
                  <a:lnTo>
                    <a:pt x="290" y="1565"/>
                  </a:lnTo>
                  <a:lnTo>
                    <a:pt x="278" y="1564"/>
                  </a:lnTo>
                  <a:lnTo>
                    <a:pt x="266" y="1560"/>
                  </a:lnTo>
                  <a:lnTo>
                    <a:pt x="253" y="1557"/>
                  </a:lnTo>
                  <a:lnTo>
                    <a:pt x="242" y="1553"/>
                  </a:lnTo>
                  <a:lnTo>
                    <a:pt x="232" y="1547"/>
                  </a:lnTo>
                  <a:lnTo>
                    <a:pt x="222" y="1540"/>
                  </a:lnTo>
                  <a:lnTo>
                    <a:pt x="217" y="1537"/>
                  </a:lnTo>
                  <a:lnTo>
                    <a:pt x="212" y="1534"/>
                  </a:lnTo>
                  <a:lnTo>
                    <a:pt x="203" y="1525"/>
                  </a:lnTo>
                  <a:lnTo>
                    <a:pt x="197" y="1516"/>
                  </a:lnTo>
                  <a:lnTo>
                    <a:pt x="192" y="1510"/>
                  </a:lnTo>
                  <a:lnTo>
                    <a:pt x="190" y="1505"/>
                  </a:lnTo>
                  <a:lnTo>
                    <a:pt x="183" y="1495"/>
                  </a:lnTo>
                  <a:lnTo>
                    <a:pt x="181" y="1488"/>
                  </a:lnTo>
                  <a:lnTo>
                    <a:pt x="179" y="1483"/>
                  </a:lnTo>
                  <a:lnTo>
                    <a:pt x="178" y="1476"/>
                  </a:lnTo>
                  <a:lnTo>
                    <a:pt x="176" y="1469"/>
                  </a:lnTo>
                  <a:lnTo>
                    <a:pt x="175" y="1463"/>
                  </a:lnTo>
                  <a:lnTo>
                    <a:pt x="175" y="1456"/>
                  </a:lnTo>
                  <a:lnTo>
                    <a:pt x="173" y="1449"/>
                  </a:lnTo>
                  <a:lnTo>
                    <a:pt x="173" y="1442"/>
                  </a:lnTo>
                  <a:lnTo>
                    <a:pt x="173" y="1434"/>
                  </a:lnTo>
                  <a:lnTo>
                    <a:pt x="175" y="1427"/>
                  </a:lnTo>
                  <a:lnTo>
                    <a:pt x="176" y="1414"/>
                  </a:lnTo>
                  <a:lnTo>
                    <a:pt x="178" y="1407"/>
                  </a:lnTo>
                  <a:lnTo>
                    <a:pt x="179" y="1401"/>
                  </a:lnTo>
                  <a:lnTo>
                    <a:pt x="183" y="1388"/>
                  </a:lnTo>
                  <a:lnTo>
                    <a:pt x="190" y="1377"/>
                  </a:lnTo>
                  <a:lnTo>
                    <a:pt x="192" y="1373"/>
                  </a:lnTo>
                  <a:lnTo>
                    <a:pt x="197" y="1367"/>
                  </a:lnTo>
                  <a:lnTo>
                    <a:pt x="200" y="1363"/>
                  </a:lnTo>
                  <a:lnTo>
                    <a:pt x="203" y="1358"/>
                  </a:lnTo>
                  <a:lnTo>
                    <a:pt x="208" y="1354"/>
                  </a:lnTo>
                  <a:lnTo>
                    <a:pt x="212" y="1349"/>
                  </a:lnTo>
                  <a:lnTo>
                    <a:pt x="222" y="1343"/>
                  </a:lnTo>
                  <a:lnTo>
                    <a:pt x="232" y="1336"/>
                  </a:lnTo>
                  <a:lnTo>
                    <a:pt x="242" y="1331"/>
                  </a:lnTo>
                  <a:lnTo>
                    <a:pt x="248" y="1328"/>
                  </a:lnTo>
                  <a:lnTo>
                    <a:pt x="253" y="1326"/>
                  </a:lnTo>
                  <a:lnTo>
                    <a:pt x="266" y="1322"/>
                  </a:lnTo>
                  <a:lnTo>
                    <a:pt x="271" y="1321"/>
                  </a:lnTo>
                  <a:lnTo>
                    <a:pt x="278" y="1319"/>
                  </a:lnTo>
                  <a:lnTo>
                    <a:pt x="290" y="1318"/>
                  </a:lnTo>
                  <a:lnTo>
                    <a:pt x="303" y="1317"/>
                  </a:lnTo>
                  <a:lnTo>
                    <a:pt x="320" y="1318"/>
                  </a:lnTo>
                  <a:lnTo>
                    <a:pt x="328" y="1318"/>
                  </a:lnTo>
                  <a:lnTo>
                    <a:pt x="336" y="1319"/>
                  </a:lnTo>
                  <a:lnTo>
                    <a:pt x="351" y="1322"/>
                  </a:lnTo>
                  <a:lnTo>
                    <a:pt x="366" y="1326"/>
                  </a:lnTo>
                  <a:lnTo>
                    <a:pt x="379" y="1331"/>
                  </a:lnTo>
                  <a:lnTo>
                    <a:pt x="391" y="1336"/>
                  </a:lnTo>
                  <a:lnTo>
                    <a:pt x="403" y="1343"/>
                  </a:lnTo>
                  <a:lnTo>
                    <a:pt x="416" y="1349"/>
                  </a:lnTo>
                  <a:lnTo>
                    <a:pt x="487" y="1211"/>
                  </a:lnTo>
                  <a:lnTo>
                    <a:pt x="466" y="1198"/>
                  </a:lnTo>
                  <a:lnTo>
                    <a:pt x="443" y="1188"/>
                  </a:lnTo>
                  <a:lnTo>
                    <a:pt x="432" y="1184"/>
                  </a:lnTo>
                  <a:lnTo>
                    <a:pt x="421" y="1179"/>
                  </a:lnTo>
                  <a:lnTo>
                    <a:pt x="409" y="1176"/>
                  </a:lnTo>
                  <a:lnTo>
                    <a:pt x="398" y="1172"/>
                  </a:lnTo>
                  <a:lnTo>
                    <a:pt x="386" y="1169"/>
                  </a:lnTo>
                  <a:lnTo>
                    <a:pt x="373" y="1166"/>
                  </a:lnTo>
                  <a:lnTo>
                    <a:pt x="361" y="1164"/>
                  </a:lnTo>
                  <a:lnTo>
                    <a:pt x="349" y="1163"/>
                  </a:lnTo>
                  <a:lnTo>
                    <a:pt x="336" y="1161"/>
                  </a:lnTo>
                  <a:lnTo>
                    <a:pt x="322" y="1160"/>
                  </a:lnTo>
                  <a:lnTo>
                    <a:pt x="296" y="1158"/>
                  </a:lnTo>
                  <a:lnTo>
                    <a:pt x="279" y="1160"/>
                  </a:lnTo>
                  <a:lnTo>
                    <a:pt x="263" y="1161"/>
                  </a:lnTo>
                  <a:lnTo>
                    <a:pt x="249" y="1162"/>
                  </a:lnTo>
                  <a:lnTo>
                    <a:pt x="233" y="1164"/>
                  </a:lnTo>
                  <a:lnTo>
                    <a:pt x="219" y="1167"/>
                  </a:lnTo>
                  <a:lnTo>
                    <a:pt x="205" y="1171"/>
                  </a:lnTo>
                  <a:lnTo>
                    <a:pt x="198" y="1172"/>
                  </a:lnTo>
                  <a:lnTo>
                    <a:pt x="191" y="1174"/>
                  </a:lnTo>
                  <a:lnTo>
                    <a:pt x="177" y="1179"/>
                  </a:lnTo>
                  <a:lnTo>
                    <a:pt x="165" y="1184"/>
                  </a:lnTo>
                  <a:lnTo>
                    <a:pt x="151" y="1189"/>
                  </a:lnTo>
                  <a:lnTo>
                    <a:pt x="139" y="1196"/>
                  </a:lnTo>
                  <a:lnTo>
                    <a:pt x="127" y="1203"/>
                  </a:lnTo>
                  <a:lnTo>
                    <a:pt x="116" y="1211"/>
                  </a:lnTo>
                  <a:lnTo>
                    <a:pt x="105" y="1218"/>
                  </a:lnTo>
                  <a:lnTo>
                    <a:pt x="94" y="1227"/>
                  </a:lnTo>
                  <a:lnTo>
                    <a:pt x="84" y="1236"/>
                  </a:lnTo>
                  <a:lnTo>
                    <a:pt x="75" y="1245"/>
                  </a:lnTo>
                  <a:lnTo>
                    <a:pt x="65" y="1255"/>
                  </a:lnTo>
                  <a:lnTo>
                    <a:pt x="57" y="1266"/>
                  </a:lnTo>
                  <a:lnTo>
                    <a:pt x="48" y="1277"/>
                  </a:lnTo>
                  <a:lnTo>
                    <a:pt x="41" y="1288"/>
                  </a:lnTo>
                  <a:lnTo>
                    <a:pt x="35" y="1301"/>
                  </a:lnTo>
                  <a:lnTo>
                    <a:pt x="28" y="1313"/>
                  </a:lnTo>
                  <a:lnTo>
                    <a:pt x="22" y="1325"/>
                  </a:lnTo>
                  <a:lnTo>
                    <a:pt x="17" y="1338"/>
                  </a:lnTo>
                  <a:lnTo>
                    <a:pt x="12" y="1352"/>
                  </a:lnTo>
                  <a:lnTo>
                    <a:pt x="9" y="1366"/>
                  </a:lnTo>
                  <a:lnTo>
                    <a:pt x="6" y="1381"/>
                  </a:lnTo>
                  <a:lnTo>
                    <a:pt x="4" y="1395"/>
                  </a:lnTo>
                  <a:lnTo>
                    <a:pt x="2" y="1403"/>
                  </a:lnTo>
                  <a:lnTo>
                    <a:pt x="1" y="1411"/>
                  </a:lnTo>
                  <a:lnTo>
                    <a:pt x="0" y="1426"/>
                  </a:lnTo>
                  <a:lnTo>
                    <a:pt x="0" y="1442"/>
                  </a:lnTo>
                  <a:lnTo>
                    <a:pt x="0" y="1457"/>
                  </a:lnTo>
                  <a:lnTo>
                    <a:pt x="1" y="1473"/>
                  </a:lnTo>
                  <a:lnTo>
                    <a:pt x="4" y="1488"/>
                  </a:lnTo>
                  <a:lnTo>
                    <a:pt x="6" y="1503"/>
                  </a:lnTo>
                  <a:lnTo>
                    <a:pt x="9" y="1517"/>
                  </a:lnTo>
                  <a:lnTo>
                    <a:pt x="12" y="1532"/>
                  </a:lnTo>
                  <a:lnTo>
                    <a:pt x="17" y="1545"/>
                  </a:lnTo>
                  <a:lnTo>
                    <a:pt x="22" y="1558"/>
                  </a:lnTo>
                  <a:lnTo>
                    <a:pt x="25" y="1565"/>
                  </a:lnTo>
                  <a:lnTo>
                    <a:pt x="28" y="1570"/>
                  </a:lnTo>
                  <a:lnTo>
                    <a:pt x="35" y="1583"/>
                  </a:lnTo>
                  <a:lnTo>
                    <a:pt x="41" y="1595"/>
                  </a:lnTo>
                  <a:lnTo>
                    <a:pt x="48" y="1606"/>
                  </a:lnTo>
                  <a:lnTo>
                    <a:pt x="57" y="1617"/>
                  </a:lnTo>
                  <a:lnTo>
                    <a:pt x="65" y="1627"/>
                  </a:lnTo>
                  <a:lnTo>
                    <a:pt x="75" y="1637"/>
                  </a:lnTo>
                  <a:lnTo>
                    <a:pt x="84" y="1647"/>
                  </a:lnTo>
                  <a:lnTo>
                    <a:pt x="94" y="1656"/>
                  </a:lnTo>
                  <a:lnTo>
                    <a:pt x="105" y="1665"/>
                  </a:lnTo>
                  <a:lnTo>
                    <a:pt x="116" y="1673"/>
                  </a:lnTo>
                  <a:lnTo>
                    <a:pt x="127" y="1680"/>
                  </a:lnTo>
                  <a:lnTo>
                    <a:pt x="139" y="1687"/>
                  </a:lnTo>
                  <a:lnTo>
                    <a:pt x="151" y="1693"/>
                  </a:lnTo>
                  <a:lnTo>
                    <a:pt x="165" y="1699"/>
                  </a:lnTo>
                  <a:lnTo>
                    <a:pt x="177" y="1704"/>
                  </a:lnTo>
                  <a:lnTo>
                    <a:pt x="191" y="1708"/>
                  </a:lnTo>
                  <a:lnTo>
                    <a:pt x="205" y="1713"/>
                  </a:lnTo>
                  <a:lnTo>
                    <a:pt x="219" y="1716"/>
                  </a:lnTo>
                  <a:lnTo>
                    <a:pt x="233" y="1719"/>
                  </a:lnTo>
                  <a:lnTo>
                    <a:pt x="249" y="1722"/>
                  </a:lnTo>
                  <a:lnTo>
                    <a:pt x="263" y="1723"/>
                  </a:lnTo>
                  <a:lnTo>
                    <a:pt x="279" y="1724"/>
                  </a:lnTo>
                  <a:lnTo>
                    <a:pt x="296" y="1724"/>
                  </a:lnTo>
                  <a:close/>
                  <a:moveTo>
                    <a:pt x="681" y="903"/>
                  </a:moveTo>
                  <a:lnTo>
                    <a:pt x="508" y="903"/>
                  </a:lnTo>
                  <a:lnTo>
                    <a:pt x="508" y="1707"/>
                  </a:lnTo>
                  <a:lnTo>
                    <a:pt x="681" y="1707"/>
                  </a:lnTo>
                  <a:lnTo>
                    <a:pt x="681" y="1441"/>
                  </a:lnTo>
                  <a:lnTo>
                    <a:pt x="681" y="1424"/>
                  </a:lnTo>
                  <a:lnTo>
                    <a:pt x="683" y="1408"/>
                  </a:lnTo>
                  <a:lnTo>
                    <a:pt x="684" y="1401"/>
                  </a:lnTo>
                  <a:lnTo>
                    <a:pt x="686" y="1394"/>
                  </a:lnTo>
                  <a:lnTo>
                    <a:pt x="687" y="1387"/>
                  </a:lnTo>
                  <a:lnTo>
                    <a:pt x="689" y="1381"/>
                  </a:lnTo>
                  <a:lnTo>
                    <a:pt x="693" y="1368"/>
                  </a:lnTo>
                  <a:lnTo>
                    <a:pt x="698" y="1358"/>
                  </a:lnTo>
                  <a:lnTo>
                    <a:pt x="701" y="1354"/>
                  </a:lnTo>
                  <a:lnTo>
                    <a:pt x="703" y="1349"/>
                  </a:lnTo>
                  <a:lnTo>
                    <a:pt x="707" y="1345"/>
                  </a:lnTo>
                  <a:lnTo>
                    <a:pt x="710" y="1341"/>
                  </a:lnTo>
                  <a:lnTo>
                    <a:pt x="718" y="1334"/>
                  </a:lnTo>
                  <a:lnTo>
                    <a:pt x="726" y="1327"/>
                  </a:lnTo>
                  <a:lnTo>
                    <a:pt x="733" y="1323"/>
                  </a:lnTo>
                  <a:lnTo>
                    <a:pt x="742" y="1318"/>
                  </a:lnTo>
                  <a:lnTo>
                    <a:pt x="752" y="1315"/>
                  </a:lnTo>
                  <a:lnTo>
                    <a:pt x="762" y="1314"/>
                  </a:lnTo>
                  <a:lnTo>
                    <a:pt x="772" y="1312"/>
                  </a:lnTo>
                  <a:lnTo>
                    <a:pt x="783" y="1312"/>
                  </a:lnTo>
                  <a:lnTo>
                    <a:pt x="794" y="1312"/>
                  </a:lnTo>
                  <a:lnTo>
                    <a:pt x="806" y="1314"/>
                  </a:lnTo>
                  <a:lnTo>
                    <a:pt x="816" y="1315"/>
                  </a:lnTo>
                  <a:lnTo>
                    <a:pt x="824" y="1318"/>
                  </a:lnTo>
                  <a:lnTo>
                    <a:pt x="833" y="1323"/>
                  </a:lnTo>
                  <a:lnTo>
                    <a:pt x="841" y="1327"/>
                  </a:lnTo>
                  <a:lnTo>
                    <a:pt x="849" y="1333"/>
                  </a:lnTo>
                  <a:lnTo>
                    <a:pt x="852" y="1336"/>
                  </a:lnTo>
                  <a:lnTo>
                    <a:pt x="856" y="1339"/>
                  </a:lnTo>
                  <a:lnTo>
                    <a:pt x="861" y="1347"/>
                  </a:lnTo>
                  <a:lnTo>
                    <a:pt x="865" y="1355"/>
                  </a:lnTo>
                  <a:lnTo>
                    <a:pt x="868" y="1361"/>
                  </a:lnTo>
                  <a:lnTo>
                    <a:pt x="870" y="1365"/>
                  </a:lnTo>
                  <a:lnTo>
                    <a:pt x="872" y="1369"/>
                  </a:lnTo>
                  <a:lnTo>
                    <a:pt x="873" y="1375"/>
                  </a:lnTo>
                  <a:lnTo>
                    <a:pt x="877" y="1386"/>
                  </a:lnTo>
                  <a:lnTo>
                    <a:pt x="878" y="1399"/>
                  </a:lnTo>
                  <a:lnTo>
                    <a:pt x="879" y="1413"/>
                  </a:lnTo>
                  <a:lnTo>
                    <a:pt x="880" y="1426"/>
                  </a:lnTo>
                  <a:lnTo>
                    <a:pt x="880" y="1707"/>
                  </a:lnTo>
                  <a:lnTo>
                    <a:pt x="1053" y="1707"/>
                  </a:lnTo>
                  <a:lnTo>
                    <a:pt x="1053" y="1378"/>
                  </a:lnTo>
                  <a:lnTo>
                    <a:pt x="1053" y="1364"/>
                  </a:lnTo>
                  <a:lnTo>
                    <a:pt x="1052" y="1351"/>
                  </a:lnTo>
                  <a:lnTo>
                    <a:pt x="1051" y="1338"/>
                  </a:lnTo>
                  <a:lnTo>
                    <a:pt x="1050" y="1325"/>
                  </a:lnTo>
                  <a:lnTo>
                    <a:pt x="1048" y="1314"/>
                  </a:lnTo>
                  <a:lnTo>
                    <a:pt x="1044" y="1302"/>
                  </a:lnTo>
                  <a:lnTo>
                    <a:pt x="1042" y="1291"/>
                  </a:lnTo>
                  <a:lnTo>
                    <a:pt x="1039" y="1281"/>
                  </a:lnTo>
                  <a:lnTo>
                    <a:pt x="1034" y="1269"/>
                  </a:lnTo>
                  <a:lnTo>
                    <a:pt x="1031" y="1261"/>
                  </a:lnTo>
                  <a:lnTo>
                    <a:pt x="1025" y="1251"/>
                  </a:lnTo>
                  <a:lnTo>
                    <a:pt x="1021" y="1243"/>
                  </a:lnTo>
                  <a:lnTo>
                    <a:pt x="1015" y="1234"/>
                  </a:lnTo>
                  <a:lnTo>
                    <a:pt x="1010" y="1226"/>
                  </a:lnTo>
                  <a:lnTo>
                    <a:pt x="1003" y="1218"/>
                  </a:lnTo>
                  <a:lnTo>
                    <a:pt x="998" y="1212"/>
                  </a:lnTo>
                  <a:lnTo>
                    <a:pt x="990" y="1205"/>
                  </a:lnTo>
                  <a:lnTo>
                    <a:pt x="983" y="1199"/>
                  </a:lnTo>
                  <a:lnTo>
                    <a:pt x="975" y="1194"/>
                  </a:lnTo>
                  <a:lnTo>
                    <a:pt x="968" y="1188"/>
                  </a:lnTo>
                  <a:lnTo>
                    <a:pt x="960" y="1184"/>
                  </a:lnTo>
                  <a:lnTo>
                    <a:pt x="952" y="1179"/>
                  </a:lnTo>
                  <a:lnTo>
                    <a:pt x="943" y="1175"/>
                  </a:lnTo>
                  <a:lnTo>
                    <a:pt x="934" y="1172"/>
                  </a:lnTo>
                  <a:lnTo>
                    <a:pt x="924" y="1168"/>
                  </a:lnTo>
                  <a:lnTo>
                    <a:pt x="915" y="1166"/>
                  </a:lnTo>
                  <a:lnTo>
                    <a:pt x="905" y="1164"/>
                  </a:lnTo>
                  <a:lnTo>
                    <a:pt x="895" y="1162"/>
                  </a:lnTo>
                  <a:lnTo>
                    <a:pt x="885" y="1161"/>
                  </a:lnTo>
                  <a:lnTo>
                    <a:pt x="874" y="1160"/>
                  </a:lnTo>
                  <a:lnTo>
                    <a:pt x="864" y="1160"/>
                  </a:lnTo>
                  <a:lnTo>
                    <a:pt x="853" y="1158"/>
                  </a:lnTo>
                  <a:lnTo>
                    <a:pt x="839" y="1160"/>
                  </a:lnTo>
                  <a:lnTo>
                    <a:pt x="826" y="1161"/>
                  </a:lnTo>
                  <a:lnTo>
                    <a:pt x="812" y="1162"/>
                  </a:lnTo>
                  <a:lnTo>
                    <a:pt x="800" y="1165"/>
                  </a:lnTo>
                  <a:lnTo>
                    <a:pt x="788" y="1167"/>
                  </a:lnTo>
                  <a:lnTo>
                    <a:pt x="776" y="1172"/>
                  </a:lnTo>
                  <a:lnTo>
                    <a:pt x="764" y="1176"/>
                  </a:lnTo>
                  <a:lnTo>
                    <a:pt x="753" y="1182"/>
                  </a:lnTo>
                  <a:lnTo>
                    <a:pt x="743" y="1187"/>
                  </a:lnTo>
                  <a:lnTo>
                    <a:pt x="733" y="1194"/>
                  </a:lnTo>
                  <a:lnTo>
                    <a:pt x="723" y="1201"/>
                  </a:lnTo>
                  <a:lnTo>
                    <a:pt x="714" y="1208"/>
                  </a:lnTo>
                  <a:lnTo>
                    <a:pt x="706" y="1217"/>
                  </a:lnTo>
                  <a:lnTo>
                    <a:pt x="702" y="1222"/>
                  </a:lnTo>
                  <a:lnTo>
                    <a:pt x="698" y="1226"/>
                  </a:lnTo>
                  <a:lnTo>
                    <a:pt x="690" y="1236"/>
                  </a:lnTo>
                  <a:lnTo>
                    <a:pt x="683" y="1246"/>
                  </a:lnTo>
                  <a:lnTo>
                    <a:pt x="681" y="1246"/>
                  </a:lnTo>
                  <a:lnTo>
                    <a:pt x="681" y="903"/>
                  </a:lnTo>
                  <a:close/>
                  <a:moveTo>
                    <a:pt x="1341" y="1724"/>
                  </a:moveTo>
                  <a:lnTo>
                    <a:pt x="1356" y="1724"/>
                  </a:lnTo>
                  <a:lnTo>
                    <a:pt x="1372" y="1723"/>
                  </a:lnTo>
                  <a:lnTo>
                    <a:pt x="1386" y="1720"/>
                  </a:lnTo>
                  <a:lnTo>
                    <a:pt x="1400" y="1718"/>
                  </a:lnTo>
                  <a:lnTo>
                    <a:pt x="1412" y="1714"/>
                  </a:lnTo>
                  <a:lnTo>
                    <a:pt x="1424" y="1710"/>
                  </a:lnTo>
                  <a:lnTo>
                    <a:pt x="1436" y="1705"/>
                  </a:lnTo>
                  <a:lnTo>
                    <a:pt x="1448" y="1699"/>
                  </a:lnTo>
                  <a:lnTo>
                    <a:pt x="1458" y="1694"/>
                  </a:lnTo>
                  <a:lnTo>
                    <a:pt x="1468" y="1687"/>
                  </a:lnTo>
                  <a:lnTo>
                    <a:pt x="1476" y="1679"/>
                  </a:lnTo>
                  <a:lnTo>
                    <a:pt x="1485" y="1672"/>
                  </a:lnTo>
                  <a:lnTo>
                    <a:pt x="1493" y="1663"/>
                  </a:lnTo>
                  <a:lnTo>
                    <a:pt x="1501" y="1654"/>
                  </a:lnTo>
                  <a:lnTo>
                    <a:pt x="1508" y="1645"/>
                  </a:lnTo>
                  <a:lnTo>
                    <a:pt x="1514" y="1635"/>
                  </a:lnTo>
                  <a:lnTo>
                    <a:pt x="1516" y="1635"/>
                  </a:lnTo>
                  <a:lnTo>
                    <a:pt x="1516" y="1707"/>
                  </a:lnTo>
                  <a:lnTo>
                    <a:pt x="1690" y="1707"/>
                  </a:lnTo>
                  <a:lnTo>
                    <a:pt x="1690" y="1176"/>
                  </a:lnTo>
                  <a:lnTo>
                    <a:pt x="1516" y="1176"/>
                  </a:lnTo>
                  <a:lnTo>
                    <a:pt x="1516" y="1248"/>
                  </a:lnTo>
                  <a:lnTo>
                    <a:pt x="1514" y="1248"/>
                  </a:lnTo>
                  <a:lnTo>
                    <a:pt x="1508" y="1238"/>
                  </a:lnTo>
                  <a:lnTo>
                    <a:pt x="1501" y="1229"/>
                  </a:lnTo>
                  <a:lnTo>
                    <a:pt x="1493" y="1221"/>
                  </a:lnTo>
                  <a:lnTo>
                    <a:pt x="1485" y="1212"/>
                  </a:lnTo>
                  <a:lnTo>
                    <a:pt x="1476" y="1204"/>
                  </a:lnTo>
                  <a:lnTo>
                    <a:pt x="1468" y="1196"/>
                  </a:lnTo>
                  <a:lnTo>
                    <a:pt x="1463" y="1193"/>
                  </a:lnTo>
                  <a:lnTo>
                    <a:pt x="1458" y="1189"/>
                  </a:lnTo>
                  <a:lnTo>
                    <a:pt x="1448" y="1184"/>
                  </a:lnTo>
                  <a:lnTo>
                    <a:pt x="1436" y="1178"/>
                  </a:lnTo>
                  <a:lnTo>
                    <a:pt x="1424" y="1173"/>
                  </a:lnTo>
                  <a:lnTo>
                    <a:pt x="1412" y="1168"/>
                  </a:lnTo>
                  <a:lnTo>
                    <a:pt x="1400" y="1165"/>
                  </a:lnTo>
                  <a:lnTo>
                    <a:pt x="1386" y="1163"/>
                  </a:lnTo>
                  <a:lnTo>
                    <a:pt x="1372" y="1161"/>
                  </a:lnTo>
                  <a:lnTo>
                    <a:pt x="1356" y="1160"/>
                  </a:lnTo>
                  <a:lnTo>
                    <a:pt x="1341" y="1158"/>
                  </a:lnTo>
                  <a:lnTo>
                    <a:pt x="1328" y="1160"/>
                  </a:lnTo>
                  <a:lnTo>
                    <a:pt x="1315" y="1160"/>
                  </a:lnTo>
                  <a:lnTo>
                    <a:pt x="1303" y="1162"/>
                  </a:lnTo>
                  <a:lnTo>
                    <a:pt x="1291" y="1164"/>
                  </a:lnTo>
                  <a:lnTo>
                    <a:pt x="1279" y="1166"/>
                  </a:lnTo>
                  <a:lnTo>
                    <a:pt x="1266" y="1169"/>
                  </a:lnTo>
                  <a:lnTo>
                    <a:pt x="1254" y="1173"/>
                  </a:lnTo>
                  <a:lnTo>
                    <a:pt x="1243" y="1177"/>
                  </a:lnTo>
                  <a:lnTo>
                    <a:pt x="1232" y="1182"/>
                  </a:lnTo>
                  <a:lnTo>
                    <a:pt x="1221" y="1187"/>
                  </a:lnTo>
                  <a:lnTo>
                    <a:pt x="1211" y="1193"/>
                  </a:lnTo>
                  <a:lnTo>
                    <a:pt x="1201" y="1199"/>
                  </a:lnTo>
                  <a:lnTo>
                    <a:pt x="1191" y="1206"/>
                  </a:lnTo>
                  <a:lnTo>
                    <a:pt x="1181" y="1214"/>
                  </a:lnTo>
                  <a:lnTo>
                    <a:pt x="1172" y="1222"/>
                  </a:lnTo>
                  <a:lnTo>
                    <a:pt x="1163" y="1231"/>
                  </a:lnTo>
                  <a:lnTo>
                    <a:pt x="1155" y="1239"/>
                  </a:lnTo>
                  <a:lnTo>
                    <a:pt x="1147" y="1249"/>
                  </a:lnTo>
                  <a:lnTo>
                    <a:pt x="1140" y="1259"/>
                  </a:lnTo>
                  <a:lnTo>
                    <a:pt x="1132" y="1271"/>
                  </a:lnTo>
                  <a:lnTo>
                    <a:pt x="1125" y="1282"/>
                  </a:lnTo>
                  <a:lnTo>
                    <a:pt x="1120" y="1294"/>
                  </a:lnTo>
                  <a:lnTo>
                    <a:pt x="1114" y="1306"/>
                  </a:lnTo>
                  <a:lnTo>
                    <a:pt x="1109" y="1318"/>
                  </a:lnTo>
                  <a:lnTo>
                    <a:pt x="1104" y="1333"/>
                  </a:lnTo>
                  <a:lnTo>
                    <a:pt x="1101" y="1346"/>
                  </a:lnTo>
                  <a:lnTo>
                    <a:pt x="1098" y="1361"/>
                  </a:lnTo>
                  <a:lnTo>
                    <a:pt x="1094" y="1376"/>
                  </a:lnTo>
                  <a:lnTo>
                    <a:pt x="1092" y="1392"/>
                  </a:lnTo>
                  <a:lnTo>
                    <a:pt x="1091" y="1407"/>
                  </a:lnTo>
                  <a:lnTo>
                    <a:pt x="1090" y="1424"/>
                  </a:lnTo>
                  <a:lnTo>
                    <a:pt x="1089" y="1442"/>
                  </a:lnTo>
                  <a:lnTo>
                    <a:pt x="1090" y="1458"/>
                  </a:lnTo>
                  <a:lnTo>
                    <a:pt x="1091" y="1475"/>
                  </a:lnTo>
                  <a:lnTo>
                    <a:pt x="1092" y="1492"/>
                  </a:lnTo>
                  <a:lnTo>
                    <a:pt x="1094" y="1507"/>
                  </a:lnTo>
                  <a:lnTo>
                    <a:pt x="1098" y="1523"/>
                  </a:lnTo>
                  <a:lnTo>
                    <a:pt x="1101" y="1537"/>
                  </a:lnTo>
                  <a:lnTo>
                    <a:pt x="1104" y="1550"/>
                  </a:lnTo>
                  <a:lnTo>
                    <a:pt x="1109" y="1564"/>
                  </a:lnTo>
                  <a:lnTo>
                    <a:pt x="1114" y="1577"/>
                  </a:lnTo>
                  <a:lnTo>
                    <a:pt x="1120" y="1589"/>
                  </a:lnTo>
                  <a:lnTo>
                    <a:pt x="1125" y="1602"/>
                  </a:lnTo>
                  <a:lnTo>
                    <a:pt x="1132" y="1613"/>
                  </a:lnTo>
                  <a:lnTo>
                    <a:pt x="1140" y="1624"/>
                  </a:lnTo>
                  <a:lnTo>
                    <a:pt x="1147" y="1634"/>
                  </a:lnTo>
                  <a:lnTo>
                    <a:pt x="1155" y="1644"/>
                  </a:lnTo>
                  <a:lnTo>
                    <a:pt x="1163" y="1653"/>
                  </a:lnTo>
                  <a:lnTo>
                    <a:pt x="1172" y="1662"/>
                  </a:lnTo>
                  <a:lnTo>
                    <a:pt x="1181" y="1669"/>
                  </a:lnTo>
                  <a:lnTo>
                    <a:pt x="1191" y="1677"/>
                  </a:lnTo>
                  <a:lnTo>
                    <a:pt x="1201" y="1684"/>
                  </a:lnTo>
                  <a:lnTo>
                    <a:pt x="1211" y="1690"/>
                  </a:lnTo>
                  <a:lnTo>
                    <a:pt x="1221" y="1696"/>
                  </a:lnTo>
                  <a:lnTo>
                    <a:pt x="1232" y="1702"/>
                  </a:lnTo>
                  <a:lnTo>
                    <a:pt x="1243" y="1706"/>
                  </a:lnTo>
                  <a:lnTo>
                    <a:pt x="1254" y="1710"/>
                  </a:lnTo>
                  <a:lnTo>
                    <a:pt x="1266" y="1714"/>
                  </a:lnTo>
                  <a:lnTo>
                    <a:pt x="1279" y="1717"/>
                  </a:lnTo>
                  <a:lnTo>
                    <a:pt x="1291" y="1719"/>
                  </a:lnTo>
                  <a:lnTo>
                    <a:pt x="1303" y="1722"/>
                  </a:lnTo>
                  <a:lnTo>
                    <a:pt x="1315" y="1723"/>
                  </a:lnTo>
                  <a:lnTo>
                    <a:pt x="1328" y="1724"/>
                  </a:lnTo>
                  <a:lnTo>
                    <a:pt x="1341" y="1724"/>
                  </a:lnTo>
                  <a:close/>
                  <a:moveTo>
                    <a:pt x="1389" y="1566"/>
                  </a:moveTo>
                  <a:lnTo>
                    <a:pt x="1376" y="1565"/>
                  </a:lnTo>
                  <a:lnTo>
                    <a:pt x="1370" y="1565"/>
                  </a:lnTo>
                  <a:lnTo>
                    <a:pt x="1364" y="1564"/>
                  </a:lnTo>
                  <a:lnTo>
                    <a:pt x="1352" y="1560"/>
                  </a:lnTo>
                  <a:lnTo>
                    <a:pt x="1346" y="1559"/>
                  </a:lnTo>
                  <a:lnTo>
                    <a:pt x="1341" y="1557"/>
                  </a:lnTo>
                  <a:lnTo>
                    <a:pt x="1330" y="1552"/>
                  </a:lnTo>
                  <a:lnTo>
                    <a:pt x="1325" y="1549"/>
                  </a:lnTo>
                  <a:lnTo>
                    <a:pt x="1320" y="1546"/>
                  </a:lnTo>
                  <a:lnTo>
                    <a:pt x="1315" y="1543"/>
                  </a:lnTo>
                  <a:lnTo>
                    <a:pt x="1311" y="1539"/>
                  </a:lnTo>
                  <a:lnTo>
                    <a:pt x="1302" y="1532"/>
                  </a:lnTo>
                  <a:lnTo>
                    <a:pt x="1294" y="1524"/>
                  </a:lnTo>
                  <a:lnTo>
                    <a:pt x="1288" y="1514"/>
                  </a:lnTo>
                  <a:lnTo>
                    <a:pt x="1282" y="1504"/>
                  </a:lnTo>
                  <a:lnTo>
                    <a:pt x="1279" y="1498"/>
                  </a:lnTo>
                  <a:lnTo>
                    <a:pt x="1276" y="1493"/>
                  </a:lnTo>
                  <a:lnTo>
                    <a:pt x="1272" y="1482"/>
                  </a:lnTo>
                  <a:lnTo>
                    <a:pt x="1270" y="1468"/>
                  </a:lnTo>
                  <a:lnTo>
                    <a:pt x="1269" y="1462"/>
                  </a:lnTo>
                  <a:lnTo>
                    <a:pt x="1268" y="1455"/>
                  </a:lnTo>
                  <a:lnTo>
                    <a:pt x="1268" y="1442"/>
                  </a:lnTo>
                  <a:lnTo>
                    <a:pt x="1268" y="1427"/>
                  </a:lnTo>
                  <a:lnTo>
                    <a:pt x="1270" y="1415"/>
                  </a:lnTo>
                  <a:lnTo>
                    <a:pt x="1271" y="1408"/>
                  </a:lnTo>
                  <a:lnTo>
                    <a:pt x="1272" y="1402"/>
                  </a:lnTo>
                  <a:lnTo>
                    <a:pt x="1276" y="1391"/>
                  </a:lnTo>
                  <a:lnTo>
                    <a:pt x="1279" y="1385"/>
                  </a:lnTo>
                  <a:lnTo>
                    <a:pt x="1282" y="1379"/>
                  </a:lnTo>
                  <a:lnTo>
                    <a:pt x="1288" y="1369"/>
                  </a:lnTo>
                  <a:lnTo>
                    <a:pt x="1294" y="1359"/>
                  </a:lnTo>
                  <a:lnTo>
                    <a:pt x="1302" y="1351"/>
                  </a:lnTo>
                  <a:lnTo>
                    <a:pt x="1306" y="1347"/>
                  </a:lnTo>
                  <a:lnTo>
                    <a:pt x="1311" y="1344"/>
                  </a:lnTo>
                  <a:lnTo>
                    <a:pt x="1315" y="1341"/>
                  </a:lnTo>
                  <a:lnTo>
                    <a:pt x="1320" y="1337"/>
                  </a:lnTo>
                  <a:lnTo>
                    <a:pt x="1330" y="1331"/>
                  </a:lnTo>
                  <a:lnTo>
                    <a:pt x="1341" y="1326"/>
                  </a:lnTo>
                  <a:lnTo>
                    <a:pt x="1352" y="1323"/>
                  </a:lnTo>
                  <a:lnTo>
                    <a:pt x="1364" y="1319"/>
                  </a:lnTo>
                  <a:lnTo>
                    <a:pt x="1370" y="1318"/>
                  </a:lnTo>
                  <a:lnTo>
                    <a:pt x="1376" y="1318"/>
                  </a:lnTo>
                  <a:lnTo>
                    <a:pt x="1389" y="1317"/>
                  </a:lnTo>
                  <a:lnTo>
                    <a:pt x="1402" y="1318"/>
                  </a:lnTo>
                  <a:lnTo>
                    <a:pt x="1414" y="1319"/>
                  </a:lnTo>
                  <a:lnTo>
                    <a:pt x="1426" y="1323"/>
                  </a:lnTo>
                  <a:lnTo>
                    <a:pt x="1432" y="1324"/>
                  </a:lnTo>
                  <a:lnTo>
                    <a:pt x="1438" y="1326"/>
                  </a:lnTo>
                  <a:lnTo>
                    <a:pt x="1449" y="1331"/>
                  </a:lnTo>
                  <a:lnTo>
                    <a:pt x="1454" y="1334"/>
                  </a:lnTo>
                  <a:lnTo>
                    <a:pt x="1459" y="1337"/>
                  </a:lnTo>
                  <a:lnTo>
                    <a:pt x="1463" y="1341"/>
                  </a:lnTo>
                  <a:lnTo>
                    <a:pt x="1469" y="1344"/>
                  </a:lnTo>
                  <a:lnTo>
                    <a:pt x="1476" y="1351"/>
                  </a:lnTo>
                  <a:lnTo>
                    <a:pt x="1484" y="1359"/>
                  </a:lnTo>
                  <a:lnTo>
                    <a:pt x="1492" y="1369"/>
                  </a:lnTo>
                  <a:lnTo>
                    <a:pt x="1498" y="1379"/>
                  </a:lnTo>
                  <a:lnTo>
                    <a:pt x="1500" y="1385"/>
                  </a:lnTo>
                  <a:lnTo>
                    <a:pt x="1503" y="1391"/>
                  </a:lnTo>
                  <a:lnTo>
                    <a:pt x="1506" y="1402"/>
                  </a:lnTo>
                  <a:lnTo>
                    <a:pt x="1510" y="1415"/>
                  </a:lnTo>
                  <a:lnTo>
                    <a:pt x="1511" y="1421"/>
                  </a:lnTo>
                  <a:lnTo>
                    <a:pt x="1511" y="1427"/>
                  </a:lnTo>
                  <a:lnTo>
                    <a:pt x="1512" y="1442"/>
                  </a:lnTo>
                  <a:lnTo>
                    <a:pt x="1511" y="1455"/>
                  </a:lnTo>
                  <a:lnTo>
                    <a:pt x="1510" y="1468"/>
                  </a:lnTo>
                  <a:lnTo>
                    <a:pt x="1509" y="1475"/>
                  </a:lnTo>
                  <a:lnTo>
                    <a:pt x="1506" y="1482"/>
                  </a:lnTo>
                  <a:lnTo>
                    <a:pt x="1503" y="1493"/>
                  </a:lnTo>
                  <a:lnTo>
                    <a:pt x="1500" y="1498"/>
                  </a:lnTo>
                  <a:lnTo>
                    <a:pt x="1498" y="1504"/>
                  </a:lnTo>
                  <a:lnTo>
                    <a:pt x="1492" y="1514"/>
                  </a:lnTo>
                  <a:lnTo>
                    <a:pt x="1484" y="1524"/>
                  </a:lnTo>
                  <a:lnTo>
                    <a:pt x="1476" y="1532"/>
                  </a:lnTo>
                  <a:lnTo>
                    <a:pt x="1473" y="1536"/>
                  </a:lnTo>
                  <a:lnTo>
                    <a:pt x="1469" y="1539"/>
                  </a:lnTo>
                  <a:lnTo>
                    <a:pt x="1463" y="1543"/>
                  </a:lnTo>
                  <a:lnTo>
                    <a:pt x="1459" y="1546"/>
                  </a:lnTo>
                  <a:lnTo>
                    <a:pt x="1449" y="1552"/>
                  </a:lnTo>
                  <a:lnTo>
                    <a:pt x="1438" y="1557"/>
                  </a:lnTo>
                  <a:lnTo>
                    <a:pt x="1426" y="1560"/>
                  </a:lnTo>
                  <a:lnTo>
                    <a:pt x="1414" y="1564"/>
                  </a:lnTo>
                  <a:lnTo>
                    <a:pt x="1402" y="1565"/>
                  </a:lnTo>
                  <a:lnTo>
                    <a:pt x="1389" y="1566"/>
                  </a:lnTo>
                  <a:close/>
                  <a:moveTo>
                    <a:pt x="2100" y="1158"/>
                  </a:moveTo>
                  <a:lnTo>
                    <a:pt x="2086" y="1160"/>
                  </a:lnTo>
                  <a:lnTo>
                    <a:pt x="2072" y="1161"/>
                  </a:lnTo>
                  <a:lnTo>
                    <a:pt x="2058" y="1163"/>
                  </a:lnTo>
                  <a:lnTo>
                    <a:pt x="2046" y="1165"/>
                  </a:lnTo>
                  <a:lnTo>
                    <a:pt x="2034" y="1169"/>
                  </a:lnTo>
                  <a:lnTo>
                    <a:pt x="2022" y="1174"/>
                  </a:lnTo>
                  <a:lnTo>
                    <a:pt x="2010" y="1178"/>
                  </a:lnTo>
                  <a:lnTo>
                    <a:pt x="1998" y="1184"/>
                  </a:lnTo>
                  <a:lnTo>
                    <a:pt x="1987" y="1191"/>
                  </a:lnTo>
                  <a:lnTo>
                    <a:pt x="1977" y="1198"/>
                  </a:lnTo>
                  <a:lnTo>
                    <a:pt x="1967" y="1206"/>
                  </a:lnTo>
                  <a:lnTo>
                    <a:pt x="1959" y="1215"/>
                  </a:lnTo>
                  <a:lnTo>
                    <a:pt x="1950" y="1225"/>
                  </a:lnTo>
                  <a:lnTo>
                    <a:pt x="1941" y="1235"/>
                  </a:lnTo>
                  <a:lnTo>
                    <a:pt x="1933" y="1245"/>
                  </a:lnTo>
                  <a:lnTo>
                    <a:pt x="1926" y="1256"/>
                  </a:lnTo>
                  <a:lnTo>
                    <a:pt x="1924" y="1256"/>
                  </a:lnTo>
                  <a:lnTo>
                    <a:pt x="1924" y="1176"/>
                  </a:lnTo>
                  <a:lnTo>
                    <a:pt x="1754" y="1176"/>
                  </a:lnTo>
                  <a:lnTo>
                    <a:pt x="1754" y="1707"/>
                  </a:lnTo>
                  <a:lnTo>
                    <a:pt x="1927" y="1707"/>
                  </a:lnTo>
                  <a:lnTo>
                    <a:pt x="1927" y="1441"/>
                  </a:lnTo>
                  <a:lnTo>
                    <a:pt x="1927" y="1424"/>
                  </a:lnTo>
                  <a:lnTo>
                    <a:pt x="1930" y="1408"/>
                  </a:lnTo>
                  <a:lnTo>
                    <a:pt x="1931" y="1401"/>
                  </a:lnTo>
                  <a:lnTo>
                    <a:pt x="1932" y="1394"/>
                  </a:lnTo>
                  <a:lnTo>
                    <a:pt x="1933" y="1387"/>
                  </a:lnTo>
                  <a:lnTo>
                    <a:pt x="1935" y="1381"/>
                  </a:lnTo>
                  <a:lnTo>
                    <a:pt x="1940" y="1368"/>
                  </a:lnTo>
                  <a:lnTo>
                    <a:pt x="1944" y="1358"/>
                  </a:lnTo>
                  <a:lnTo>
                    <a:pt x="1947" y="1354"/>
                  </a:lnTo>
                  <a:lnTo>
                    <a:pt x="1950" y="1349"/>
                  </a:lnTo>
                  <a:lnTo>
                    <a:pt x="1953" y="1345"/>
                  </a:lnTo>
                  <a:lnTo>
                    <a:pt x="1956" y="1341"/>
                  </a:lnTo>
                  <a:lnTo>
                    <a:pt x="1964" y="1334"/>
                  </a:lnTo>
                  <a:lnTo>
                    <a:pt x="1972" y="1327"/>
                  </a:lnTo>
                  <a:lnTo>
                    <a:pt x="1980" y="1323"/>
                  </a:lnTo>
                  <a:lnTo>
                    <a:pt x="1989" y="1318"/>
                  </a:lnTo>
                  <a:lnTo>
                    <a:pt x="1998" y="1315"/>
                  </a:lnTo>
                  <a:lnTo>
                    <a:pt x="2008" y="1314"/>
                  </a:lnTo>
                  <a:lnTo>
                    <a:pt x="2018" y="1312"/>
                  </a:lnTo>
                  <a:lnTo>
                    <a:pt x="2030" y="1312"/>
                  </a:lnTo>
                  <a:lnTo>
                    <a:pt x="2041" y="1312"/>
                  </a:lnTo>
                  <a:lnTo>
                    <a:pt x="2052" y="1314"/>
                  </a:lnTo>
                  <a:lnTo>
                    <a:pt x="2063" y="1315"/>
                  </a:lnTo>
                  <a:lnTo>
                    <a:pt x="2072" y="1318"/>
                  </a:lnTo>
                  <a:lnTo>
                    <a:pt x="2081" y="1323"/>
                  </a:lnTo>
                  <a:lnTo>
                    <a:pt x="2088" y="1327"/>
                  </a:lnTo>
                  <a:lnTo>
                    <a:pt x="2096" y="1333"/>
                  </a:lnTo>
                  <a:lnTo>
                    <a:pt x="2100" y="1336"/>
                  </a:lnTo>
                  <a:lnTo>
                    <a:pt x="2103" y="1339"/>
                  </a:lnTo>
                  <a:lnTo>
                    <a:pt x="2108" y="1347"/>
                  </a:lnTo>
                  <a:lnTo>
                    <a:pt x="2113" y="1355"/>
                  </a:lnTo>
                  <a:lnTo>
                    <a:pt x="2115" y="1361"/>
                  </a:lnTo>
                  <a:lnTo>
                    <a:pt x="2117" y="1365"/>
                  </a:lnTo>
                  <a:lnTo>
                    <a:pt x="2121" y="1375"/>
                  </a:lnTo>
                  <a:lnTo>
                    <a:pt x="2124" y="1386"/>
                  </a:lnTo>
                  <a:lnTo>
                    <a:pt x="2125" y="1399"/>
                  </a:lnTo>
                  <a:lnTo>
                    <a:pt x="2127" y="1413"/>
                  </a:lnTo>
                  <a:lnTo>
                    <a:pt x="2127" y="1426"/>
                  </a:lnTo>
                  <a:lnTo>
                    <a:pt x="2127" y="1707"/>
                  </a:lnTo>
                  <a:lnTo>
                    <a:pt x="2300" y="1707"/>
                  </a:lnTo>
                  <a:lnTo>
                    <a:pt x="2300" y="1378"/>
                  </a:lnTo>
                  <a:lnTo>
                    <a:pt x="2300" y="1364"/>
                  </a:lnTo>
                  <a:lnTo>
                    <a:pt x="2298" y="1351"/>
                  </a:lnTo>
                  <a:lnTo>
                    <a:pt x="2297" y="1338"/>
                  </a:lnTo>
                  <a:lnTo>
                    <a:pt x="2296" y="1325"/>
                  </a:lnTo>
                  <a:lnTo>
                    <a:pt x="2294" y="1314"/>
                  </a:lnTo>
                  <a:lnTo>
                    <a:pt x="2291" y="1302"/>
                  </a:lnTo>
                  <a:lnTo>
                    <a:pt x="2288" y="1291"/>
                  </a:lnTo>
                  <a:lnTo>
                    <a:pt x="2285" y="1281"/>
                  </a:lnTo>
                  <a:lnTo>
                    <a:pt x="2281" y="1269"/>
                  </a:lnTo>
                  <a:lnTo>
                    <a:pt x="2277" y="1261"/>
                  </a:lnTo>
                  <a:lnTo>
                    <a:pt x="2272" y="1251"/>
                  </a:lnTo>
                  <a:lnTo>
                    <a:pt x="2267" y="1243"/>
                  </a:lnTo>
                  <a:lnTo>
                    <a:pt x="2262" y="1234"/>
                  </a:lnTo>
                  <a:lnTo>
                    <a:pt x="2256" y="1226"/>
                  </a:lnTo>
                  <a:lnTo>
                    <a:pt x="2250" y="1218"/>
                  </a:lnTo>
                  <a:lnTo>
                    <a:pt x="2244" y="1212"/>
                  </a:lnTo>
                  <a:lnTo>
                    <a:pt x="2236" y="1205"/>
                  </a:lnTo>
                  <a:lnTo>
                    <a:pt x="2230" y="1199"/>
                  </a:lnTo>
                  <a:lnTo>
                    <a:pt x="2222" y="1194"/>
                  </a:lnTo>
                  <a:lnTo>
                    <a:pt x="2214" y="1188"/>
                  </a:lnTo>
                  <a:lnTo>
                    <a:pt x="2206" y="1184"/>
                  </a:lnTo>
                  <a:lnTo>
                    <a:pt x="2198" y="1179"/>
                  </a:lnTo>
                  <a:lnTo>
                    <a:pt x="2190" y="1175"/>
                  </a:lnTo>
                  <a:lnTo>
                    <a:pt x="2181" y="1172"/>
                  </a:lnTo>
                  <a:lnTo>
                    <a:pt x="2171" y="1168"/>
                  </a:lnTo>
                  <a:lnTo>
                    <a:pt x="2162" y="1166"/>
                  </a:lnTo>
                  <a:lnTo>
                    <a:pt x="2152" y="1164"/>
                  </a:lnTo>
                  <a:lnTo>
                    <a:pt x="2142" y="1162"/>
                  </a:lnTo>
                  <a:lnTo>
                    <a:pt x="2132" y="1161"/>
                  </a:lnTo>
                  <a:lnTo>
                    <a:pt x="2121" y="1160"/>
                  </a:lnTo>
                  <a:lnTo>
                    <a:pt x="2111" y="1160"/>
                  </a:lnTo>
                  <a:lnTo>
                    <a:pt x="2100" y="1158"/>
                  </a:lnTo>
                  <a:close/>
                  <a:moveTo>
                    <a:pt x="2651" y="1954"/>
                  </a:moveTo>
                  <a:lnTo>
                    <a:pt x="2668" y="1954"/>
                  </a:lnTo>
                  <a:lnTo>
                    <a:pt x="2685" y="1953"/>
                  </a:lnTo>
                  <a:lnTo>
                    <a:pt x="2701" y="1951"/>
                  </a:lnTo>
                  <a:lnTo>
                    <a:pt x="2716" y="1950"/>
                  </a:lnTo>
                  <a:lnTo>
                    <a:pt x="2731" y="1948"/>
                  </a:lnTo>
                  <a:lnTo>
                    <a:pt x="2745" y="1946"/>
                  </a:lnTo>
                  <a:lnTo>
                    <a:pt x="2759" y="1943"/>
                  </a:lnTo>
                  <a:lnTo>
                    <a:pt x="2773" y="1939"/>
                  </a:lnTo>
                  <a:lnTo>
                    <a:pt x="2779" y="1937"/>
                  </a:lnTo>
                  <a:lnTo>
                    <a:pt x="2786" y="1935"/>
                  </a:lnTo>
                  <a:lnTo>
                    <a:pt x="2798" y="1930"/>
                  </a:lnTo>
                  <a:lnTo>
                    <a:pt x="2810" y="1925"/>
                  </a:lnTo>
                  <a:lnTo>
                    <a:pt x="2822" y="1919"/>
                  </a:lnTo>
                  <a:lnTo>
                    <a:pt x="2833" y="1914"/>
                  </a:lnTo>
                  <a:lnTo>
                    <a:pt x="2844" y="1907"/>
                  </a:lnTo>
                  <a:lnTo>
                    <a:pt x="2853" y="1900"/>
                  </a:lnTo>
                  <a:lnTo>
                    <a:pt x="2863" y="1893"/>
                  </a:lnTo>
                  <a:lnTo>
                    <a:pt x="2872" y="1885"/>
                  </a:lnTo>
                  <a:lnTo>
                    <a:pt x="2879" y="1877"/>
                  </a:lnTo>
                  <a:lnTo>
                    <a:pt x="2887" y="1868"/>
                  </a:lnTo>
                  <a:lnTo>
                    <a:pt x="2895" y="1858"/>
                  </a:lnTo>
                  <a:lnTo>
                    <a:pt x="2902" y="1848"/>
                  </a:lnTo>
                  <a:lnTo>
                    <a:pt x="2907" y="1838"/>
                  </a:lnTo>
                  <a:lnTo>
                    <a:pt x="2913" y="1827"/>
                  </a:lnTo>
                  <a:lnTo>
                    <a:pt x="2918" y="1816"/>
                  </a:lnTo>
                  <a:lnTo>
                    <a:pt x="2923" y="1804"/>
                  </a:lnTo>
                  <a:lnTo>
                    <a:pt x="2926" y="1792"/>
                  </a:lnTo>
                  <a:lnTo>
                    <a:pt x="2929" y="1779"/>
                  </a:lnTo>
                  <a:lnTo>
                    <a:pt x="2932" y="1766"/>
                  </a:lnTo>
                  <a:lnTo>
                    <a:pt x="2934" y="1752"/>
                  </a:lnTo>
                  <a:lnTo>
                    <a:pt x="2936" y="1737"/>
                  </a:lnTo>
                  <a:lnTo>
                    <a:pt x="2937" y="1723"/>
                  </a:lnTo>
                  <a:lnTo>
                    <a:pt x="2937" y="1707"/>
                  </a:lnTo>
                  <a:lnTo>
                    <a:pt x="2937" y="1176"/>
                  </a:lnTo>
                  <a:lnTo>
                    <a:pt x="2764" y="1176"/>
                  </a:lnTo>
                  <a:lnTo>
                    <a:pt x="2764" y="1248"/>
                  </a:lnTo>
                  <a:lnTo>
                    <a:pt x="2762" y="1248"/>
                  </a:lnTo>
                  <a:lnTo>
                    <a:pt x="2755" y="1238"/>
                  </a:lnTo>
                  <a:lnTo>
                    <a:pt x="2748" y="1229"/>
                  </a:lnTo>
                  <a:lnTo>
                    <a:pt x="2741" y="1221"/>
                  </a:lnTo>
                  <a:lnTo>
                    <a:pt x="2733" y="1212"/>
                  </a:lnTo>
                  <a:lnTo>
                    <a:pt x="2724" y="1204"/>
                  </a:lnTo>
                  <a:lnTo>
                    <a:pt x="2715" y="1196"/>
                  </a:lnTo>
                  <a:lnTo>
                    <a:pt x="2709" y="1193"/>
                  </a:lnTo>
                  <a:lnTo>
                    <a:pt x="2705" y="1189"/>
                  </a:lnTo>
                  <a:lnTo>
                    <a:pt x="2694" y="1184"/>
                  </a:lnTo>
                  <a:lnTo>
                    <a:pt x="2684" y="1178"/>
                  </a:lnTo>
                  <a:lnTo>
                    <a:pt x="2672" y="1173"/>
                  </a:lnTo>
                  <a:lnTo>
                    <a:pt x="2659" y="1168"/>
                  </a:lnTo>
                  <a:lnTo>
                    <a:pt x="2646" y="1165"/>
                  </a:lnTo>
                  <a:lnTo>
                    <a:pt x="2633" y="1163"/>
                  </a:lnTo>
                  <a:lnTo>
                    <a:pt x="2618" y="1161"/>
                  </a:lnTo>
                  <a:lnTo>
                    <a:pt x="2604" y="1160"/>
                  </a:lnTo>
                  <a:lnTo>
                    <a:pt x="2587" y="1158"/>
                  </a:lnTo>
                  <a:lnTo>
                    <a:pt x="2575" y="1160"/>
                  </a:lnTo>
                  <a:lnTo>
                    <a:pt x="2562" y="1160"/>
                  </a:lnTo>
                  <a:lnTo>
                    <a:pt x="2537" y="1164"/>
                  </a:lnTo>
                  <a:lnTo>
                    <a:pt x="2525" y="1166"/>
                  </a:lnTo>
                  <a:lnTo>
                    <a:pt x="2513" y="1169"/>
                  </a:lnTo>
                  <a:lnTo>
                    <a:pt x="2502" y="1173"/>
                  </a:lnTo>
                  <a:lnTo>
                    <a:pt x="2491" y="1177"/>
                  </a:lnTo>
                  <a:lnTo>
                    <a:pt x="2479" y="1182"/>
                  </a:lnTo>
                  <a:lnTo>
                    <a:pt x="2468" y="1187"/>
                  </a:lnTo>
                  <a:lnTo>
                    <a:pt x="2457" y="1193"/>
                  </a:lnTo>
                  <a:lnTo>
                    <a:pt x="2447" y="1199"/>
                  </a:lnTo>
                  <a:lnTo>
                    <a:pt x="2437" y="1206"/>
                  </a:lnTo>
                  <a:lnTo>
                    <a:pt x="2428" y="1214"/>
                  </a:lnTo>
                  <a:lnTo>
                    <a:pt x="2419" y="1222"/>
                  </a:lnTo>
                  <a:lnTo>
                    <a:pt x="2411" y="1231"/>
                  </a:lnTo>
                  <a:lnTo>
                    <a:pt x="2402" y="1239"/>
                  </a:lnTo>
                  <a:lnTo>
                    <a:pt x="2394" y="1249"/>
                  </a:lnTo>
                  <a:lnTo>
                    <a:pt x="2386" y="1259"/>
                  </a:lnTo>
                  <a:lnTo>
                    <a:pt x="2379" y="1271"/>
                  </a:lnTo>
                  <a:lnTo>
                    <a:pt x="2373" y="1282"/>
                  </a:lnTo>
                  <a:lnTo>
                    <a:pt x="2366" y="1293"/>
                  </a:lnTo>
                  <a:lnTo>
                    <a:pt x="2361" y="1305"/>
                  </a:lnTo>
                  <a:lnTo>
                    <a:pt x="2356" y="1318"/>
                  </a:lnTo>
                  <a:lnTo>
                    <a:pt x="2352" y="1332"/>
                  </a:lnTo>
                  <a:lnTo>
                    <a:pt x="2347" y="1346"/>
                  </a:lnTo>
                  <a:lnTo>
                    <a:pt x="2346" y="1353"/>
                  </a:lnTo>
                  <a:lnTo>
                    <a:pt x="2344" y="1361"/>
                  </a:lnTo>
                  <a:lnTo>
                    <a:pt x="2342" y="1375"/>
                  </a:lnTo>
                  <a:lnTo>
                    <a:pt x="2340" y="1391"/>
                  </a:lnTo>
                  <a:lnTo>
                    <a:pt x="2337" y="1407"/>
                  </a:lnTo>
                  <a:lnTo>
                    <a:pt x="2336" y="1424"/>
                  </a:lnTo>
                  <a:lnTo>
                    <a:pt x="2336" y="1441"/>
                  </a:lnTo>
                  <a:lnTo>
                    <a:pt x="2336" y="1457"/>
                  </a:lnTo>
                  <a:lnTo>
                    <a:pt x="2337" y="1474"/>
                  </a:lnTo>
                  <a:lnTo>
                    <a:pt x="2338" y="1489"/>
                  </a:lnTo>
                  <a:lnTo>
                    <a:pt x="2341" y="1505"/>
                  </a:lnTo>
                  <a:lnTo>
                    <a:pt x="2344" y="1519"/>
                  </a:lnTo>
                  <a:lnTo>
                    <a:pt x="2347" y="1534"/>
                  </a:lnTo>
                  <a:lnTo>
                    <a:pt x="2352" y="1548"/>
                  </a:lnTo>
                  <a:lnTo>
                    <a:pt x="2356" y="1562"/>
                  </a:lnTo>
                  <a:lnTo>
                    <a:pt x="2361" y="1574"/>
                  </a:lnTo>
                  <a:lnTo>
                    <a:pt x="2366" y="1586"/>
                  </a:lnTo>
                  <a:lnTo>
                    <a:pt x="2372" y="1597"/>
                  </a:lnTo>
                  <a:lnTo>
                    <a:pt x="2378" y="1608"/>
                  </a:lnTo>
                  <a:lnTo>
                    <a:pt x="2386" y="1619"/>
                  </a:lnTo>
                  <a:lnTo>
                    <a:pt x="2393" y="1629"/>
                  </a:lnTo>
                  <a:lnTo>
                    <a:pt x="2401" y="1638"/>
                  </a:lnTo>
                  <a:lnTo>
                    <a:pt x="2409" y="1647"/>
                  </a:lnTo>
                  <a:lnTo>
                    <a:pt x="2418" y="1656"/>
                  </a:lnTo>
                  <a:lnTo>
                    <a:pt x="2427" y="1664"/>
                  </a:lnTo>
                  <a:lnTo>
                    <a:pt x="2436" y="1670"/>
                  </a:lnTo>
                  <a:lnTo>
                    <a:pt x="2446" y="1677"/>
                  </a:lnTo>
                  <a:lnTo>
                    <a:pt x="2456" y="1684"/>
                  </a:lnTo>
                  <a:lnTo>
                    <a:pt x="2467" y="1689"/>
                  </a:lnTo>
                  <a:lnTo>
                    <a:pt x="2477" y="1695"/>
                  </a:lnTo>
                  <a:lnTo>
                    <a:pt x="2488" y="1699"/>
                  </a:lnTo>
                  <a:lnTo>
                    <a:pt x="2501" y="1703"/>
                  </a:lnTo>
                  <a:lnTo>
                    <a:pt x="2512" y="1706"/>
                  </a:lnTo>
                  <a:lnTo>
                    <a:pt x="2524" y="1709"/>
                  </a:lnTo>
                  <a:lnTo>
                    <a:pt x="2536" y="1712"/>
                  </a:lnTo>
                  <a:lnTo>
                    <a:pt x="2548" y="1714"/>
                  </a:lnTo>
                  <a:lnTo>
                    <a:pt x="2561" y="1715"/>
                  </a:lnTo>
                  <a:lnTo>
                    <a:pt x="2574" y="1716"/>
                  </a:lnTo>
                  <a:lnTo>
                    <a:pt x="2586" y="1716"/>
                  </a:lnTo>
                  <a:lnTo>
                    <a:pt x="2603" y="1716"/>
                  </a:lnTo>
                  <a:lnTo>
                    <a:pt x="2618" y="1715"/>
                  </a:lnTo>
                  <a:lnTo>
                    <a:pt x="2634" y="1713"/>
                  </a:lnTo>
                  <a:lnTo>
                    <a:pt x="2647" y="1709"/>
                  </a:lnTo>
                  <a:lnTo>
                    <a:pt x="2661" y="1706"/>
                  </a:lnTo>
                  <a:lnTo>
                    <a:pt x="2673" y="1702"/>
                  </a:lnTo>
                  <a:lnTo>
                    <a:pt x="2685" y="1697"/>
                  </a:lnTo>
                  <a:lnTo>
                    <a:pt x="2696" y="1692"/>
                  </a:lnTo>
                  <a:lnTo>
                    <a:pt x="2706" y="1686"/>
                  </a:lnTo>
                  <a:lnTo>
                    <a:pt x="2716" y="1679"/>
                  </a:lnTo>
                  <a:lnTo>
                    <a:pt x="2725" y="1673"/>
                  </a:lnTo>
                  <a:lnTo>
                    <a:pt x="2734" y="1666"/>
                  </a:lnTo>
                  <a:lnTo>
                    <a:pt x="2742" y="1658"/>
                  </a:lnTo>
                  <a:lnTo>
                    <a:pt x="2748" y="1652"/>
                  </a:lnTo>
                  <a:lnTo>
                    <a:pt x="2755" y="1644"/>
                  </a:lnTo>
                  <a:lnTo>
                    <a:pt x="2762" y="1636"/>
                  </a:lnTo>
                  <a:lnTo>
                    <a:pt x="2764" y="1636"/>
                  </a:lnTo>
                  <a:lnTo>
                    <a:pt x="2764" y="1670"/>
                  </a:lnTo>
                  <a:lnTo>
                    <a:pt x="2763" y="1687"/>
                  </a:lnTo>
                  <a:lnTo>
                    <a:pt x="2762" y="1703"/>
                  </a:lnTo>
                  <a:lnTo>
                    <a:pt x="2759" y="1716"/>
                  </a:lnTo>
                  <a:lnTo>
                    <a:pt x="2758" y="1723"/>
                  </a:lnTo>
                  <a:lnTo>
                    <a:pt x="2756" y="1728"/>
                  </a:lnTo>
                  <a:lnTo>
                    <a:pt x="2754" y="1734"/>
                  </a:lnTo>
                  <a:lnTo>
                    <a:pt x="2752" y="1739"/>
                  </a:lnTo>
                  <a:lnTo>
                    <a:pt x="2747" y="1749"/>
                  </a:lnTo>
                  <a:lnTo>
                    <a:pt x="2741" y="1758"/>
                  </a:lnTo>
                  <a:lnTo>
                    <a:pt x="2737" y="1763"/>
                  </a:lnTo>
                  <a:lnTo>
                    <a:pt x="2734" y="1766"/>
                  </a:lnTo>
                  <a:lnTo>
                    <a:pt x="2725" y="1773"/>
                  </a:lnTo>
                  <a:lnTo>
                    <a:pt x="2716" y="1778"/>
                  </a:lnTo>
                  <a:lnTo>
                    <a:pt x="2706" y="1783"/>
                  </a:lnTo>
                  <a:lnTo>
                    <a:pt x="2695" y="1786"/>
                  </a:lnTo>
                  <a:lnTo>
                    <a:pt x="2683" y="1789"/>
                  </a:lnTo>
                  <a:lnTo>
                    <a:pt x="2668" y="1790"/>
                  </a:lnTo>
                  <a:lnTo>
                    <a:pt x="2654" y="1792"/>
                  </a:lnTo>
                  <a:lnTo>
                    <a:pt x="2638" y="1792"/>
                  </a:lnTo>
                  <a:lnTo>
                    <a:pt x="2623" y="1792"/>
                  </a:lnTo>
                  <a:lnTo>
                    <a:pt x="2605" y="1790"/>
                  </a:lnTo>
                  <a:lnTo>
                    <a:pt x="2585" y="1789"/>
                  </a:lnTo>
                  <a:lnTo>
                    <a:pt x="2563" y="1787"/>
                  </a:lnTo>
                  <a:lnTo>
                    <a:pt x="2538" y="1783"/>
                  </a:lnTo>
                  <a:lnTo>
                    <a:pt x="2513" y="1778"/>
                  </a:lnTo>
                  <a:lnTo>
                    <a:pt x="2484" y="1773"/>
                  </a:lnTo>
                  <a:lnTo>
                    <a:pt x="2452" y="1766"/>
                  </a:lnTo>
                  <a:lnTo>
                    <a:pt x="2424" y="1928"/>
                  </a:lnTo>
                  <a:lnTo>
                    <a:pt x="2456" y="1934"/>
                  </a:lnTo>
                  <a:lnTo>
                    <a:pt x="2489" y="1939"/>
                  </a:lnTo>
                  <a:lnTo>
                    <a:pt x="2521" y="1944"/>
                  </a:lnTo>
                  <a:lnTo>
                    <a:pt x="2551" y="1948"/>
                  </a:lnTo>
                  <a:lnTo>
                    <a:pt x="2578" y="1950"/>
                  </a:lnTo>
                  <a:lnTo>
                    <a:pt x="2605" y="1953"/>
                  </a:lnTo>
                  <a:lnTo>
                    <a:pt x="2629" y="1954"/>
                  </a:lnTo>
                  <a:lnTo>
                    <a:pt x="2651" y="1954"/>
                  </a:lnTo>
                  <a:close/>
                  <a:moveTo>
                    <a:pt x="2636" y="1566"/>
                  </a:moveTo>
                  <a:lnTo>
                    <a:pt x="2623" y="1565"/>
                  </a:lnTo>
                  <a:lnTo>
                    <a:pt x="2617" y="1565"/>
                  </a:lnTo>
                  <a:lnTo>
                    <a:pt x="2611" y="1564"/>
                  </a:lnTo>
                  <a:lnTo>
                    <a:pt x="2599" y="1560"/>
                  </a:lnTo>
                  <a:lnTo>
                    <a:pt x="2594" y="1559"/>
                  </a:lnTo>
                  <a:lnTo>
                    <a:pt x="2588" y="1557"/>
                  </a:lnTo>
                  <a:lnTo>
                    <a:pt x="2577" y="1552"/>
                  </a:lnTo>
                  <a:lnTo>
                    <a:pt x="2567" y="1546"/>
                  </a:lnTo>
                  <a:lnTo>
                    <a:pt x="2563" y="1543"/>
                  </a:lnTo>
                  <a:lnTo>
                    <a:pt x="2558" y="1539"/>
                  </a:lnTo>
                  <a:lnTo>
                    <a:pt x="2549" y="1532"/>
                  </a:lnTo>
                  <a:lnTo>
                    <a:pt x="2542" y="1524"/>
                  </a:lnTo>
                  <a:lnTo>
                    <a:pt x="2535" y="1514"/>
                  </a:lnTo>
                  <a:lnTo>
                    <a:pt x="2528" y="1504"/>
                  </a:lnTo>
                  <a:lnTo>
                    <a:pt x="2526" y="1498"/>
                  </a:lnTo>
                  <a:lnTo>
                    <a:pt x="2524" y="1493"/>
                  </a:lnTo>
                  <a:lnTo>
                    <a:pt x="2519" y="1482"/>
                  </a:lnTo>
                  <a:lnTo>
                    <a:pt x="2516" y="1468"/>
                  </a:lnTo>
                  <a:lnTo>
                    <a:pt x="2515" y="1462"/>
                  </a:lnTo>
                  <a:lnTo>
                    <a:pt x="2515" y="1455"/>
                  </a:lnTo>
                  <a:lnTo>
                    <a:pt x="2514" y="1442"/>
                  </a:lnTo>
                  <a:lnTo>
                    <a:pt x="2515" y="1427"/>
                  </a:lnTo>
                  <a:lnTo>
                    <a:pt x="2516" y="1415"/>
                  </a:lnTo>
                  <a:lnTo>
                    <a:pt x="2518" y="1408"/>
                  </a:lnTo>
                  <a:lnTo>
                    <a:pt x="2519" y="1402"/>
                  </a:lnTo>
                  <a:lnTo>
                    <a:pt x="2524" y="1391"/>
                  </a:lnTo>
                  <a:lnTo>
                    <a:pt x="2526" y="1385"/>
                  </a:lnTo>
                  <a:lnTo>
                    <a:pt x="2528" y="1379"/>
                  </a:lnTo>
                  <a:lnTo>
                    <a:pt x="2535" y="1369"/>
                  </a:lnTo>
                  <a:lnTo>
                    <a:pt x="2542" y="1359"/>
                  </a:lnTo>
                  <a:lnTo>
                    <a:pt x="2549" y="1351"/>
                  </a:lnTo>
                  <a:lnTo>
                    <a:pt x="2554" y="1347"/>
                  </a:lnTo>
                  <a:lnTo>
                    <a:pt x="2558" y="1344"/>
                  </a:lnTo>
                  <a:lnTo>
                    <a:pt x="2563" y="1341"/>
                  </a:lnTo>
                  <a:lnTo>
                    <a:pt x="2567" y="1337"/>
                  </a:lnTo>
                  <a:lnTo>
                    <a:pt x="2577" y="1331"/>
                  </a:lnTo>
                  <a:lnTo>
                    <a:pt x="2588" y="1326"/>
                  </a:lnTo>
                  <a:lnTo>
                    <a:pt x="2599" y="1323"/>
                  </a:lnTo>
                  <a:lnTo>
                    <a:pt x="2611" y="1319"/>
                  </a:lnTo>
                  <a:lnTo>
                    <a:pt x="2617" y="1318"/>
                  </a:lnTo>
                  <a:lnTo>
                    <a:pt x="2623" y="1318"/>
                  </a:lnTo>
                  <a:lnTo>
                    <a:pt x="2636" y="1317"/>
                  </a:lnTo>
                  <a:lnTo>
                    <a:pt x="2649" y="1318"/>
                  </a:lnTo>
                  <a:lnTo>
                    <a:pt x="2662" y="1319"/>
                  </a:lnTo>
                  <a:lnTo>
                    <a:pt x="2674" y="1323"/>
                  </a:lnTo>
                  <a:lnTo>
                    <a:pt x="2679" y="1324"/>
                  </a:lnTo>
                  <a:lnTo>
                    <a:pt x="2685" y="1326"/>
                  </a:lnTo>
                  <a:lnTo>
                    <a:pt x="2696" y="1331"/>
                  </a:lnTo>
                  <a:lnTo>
                    <a:pt x="2701" y="1334"/>
                  </a:lnTo>
                  <a:lnTo>
                    <a:pt x="2706" y="1337"/>
                  </a:lnTo>
                  <a:lnTo>
                    <a:pt x="2711" y="1341"/>
                  </a:lnTo>
                  <a:lnTo>
                    <a:pt x="2715" y="1344"/>
                  </a:lnTo>
                  <a:lnTo>
                    <a:pt x="2724" y="1351"/>
                  </a:lnTo>
                  <a:lnTo>
                    <a:pt x="2732" y="1359"/>
                  </a:lnTo>
                  <a:lnTo>
                    <a:pt x="2738" y="1369"/>
                  </a:lnTo>
                  <a:lnTo>
                    <a:pt x="2745" y="1379"/>
                  </a:lnTo>
                  <a:lnTo>
                    <a:pt x="2747" y="1385"/>
                  </a:lnTo>
                  <a:lnTo>
                    <a:pt x="2749" y="1391"/>
                  </a:lnTo>
                  <a:lnTo>
                    <a:pt x="2754" y="1402"/>
                  </a:lnTo>
                  <a:lnTo>
                    <a:pt x="2756" y="1415"/>
                  </a:lnTo>
                  <a:lnTo>
                    <a:pt x="2757" y="1421"/>
                  </a:lnTo>
                  <a:lnTo>
                    <a:pt x="2758" y="1427"/>
                  </a:lnTo>
                  <a:lnTo>
                    <a:pt x="2759" y="1442"/>
                  </a:lnTo>
                  <a:lnTo>
                    <a:pt x="2758" y="1455"/>
                  </a:lnTo>
                  <a:lnTo>
                    <a:pt x="2756" y="1468"/>
                  </a:lnTo>
                  <a:lnTo>
                    <a:pt x="2755" y="1475"/>
                  </a:lnTo>
                  <a:lnTo>
                    <a:pt x="2754" y="1482"/>
                  </a:lnTo>
                  <a:lnTo>
                    <a:pt x="2749" y="1493"/>
                  </a:lnTo>
                  <a:lnTo>
                    <a:pt x="2747" y="1498"/>
                  </a:lnTo>
                  <a:lnTo>
                    <a:pt x="2745" y="1504"/>
                  </a:lnTo>
                  <a:lnTo>
                    <a:pt x="2738" y="1514"/>
                  </a:lnTo>
                  <a:lnTo>
                    <a:pt x="2732" y="1524"/>
                  </a:lnTo>
                  <a:lnTo>
                    <a:pt x="2724" y="1532"/>
                  </a:lnTo>
                  <a:lnTo>
                    <a:pt x="2719" y="1536"/>
                  </a:lnTo>
                  <a:lnTo>
                    <a:pt x="2715" y="1539"/>
                  </a:lnTo>
                  <a:lnTo>
                    <a:pt x="2711" y="1543"/>
                  </a:lnTo>
                  <a:lnTo>
                    <a:pt x="2706" y="1546"/>
                  </a:lnTo>
                  <a:lnTo>
                    <a:pt x="2696" y="1552"/>
                  </a:lnTo>
                  <a:lnTo>
                    <a:pt x="2685" y="1557"/>
                  </a:lnTo>
                  <a:lnTo>
                    <a:pt x="2674" y="1560"/>
                  </a:lnTo>
                  <a:lnTo>
                    <a:pt x="2662" y="1564"/>
                  </a:lnTo>
                  <a:lnTo>
                    <a:pt x="2649" y="1565"/>
                  </a:lnTo>
                  <a:lnTo>
                    <a:pt x="2636" y="1566"/>
                  </a:lnTo>
                  <a:close/>
                  <a:moveTo>
                    <a:pt x="3254" y="1160"/>
                  </a:moveTo>
                  <a:lnTo>
                    <a:pt x="3239" y="1161"/>
                  </a:lnTo>
                  <a:lnTo>
                    <a:pt x="3224" y="1162"/>
                  </a:lnTo>
                  <a:lnTo>
                    <a:pt x="3209" y="1163"/>
                  </a:lnTo>
                  <a:lnTo>
                    <a:pt x="3195" y="1165"/>
                  </a:lnTo>
                  <a:lnTo>
                    <a:pt x="3181" y="1167"/>
                  </a:lnTo>
                  <a:lnTo>
                    <a:pt x="3167" y="1171"/>
                  </a:lnTo>
                  <a:lnTo>
                    <a:pt x="3154" y="1175"/>
                  </a:lnTo>
                  <a:lnTo>
                    <a:pt x="3141" y="1179"/>
                  </a:lnTo>
                  <a:lnTo>
                    <a:pt x="3129" y="1184"/>
                  </a:lnTo>
                  <a:lnTo>
                    <a:pt x="3117" y="1189"/>
                  </a:lnTo>
                  <a:lnTo>
                    <a:pt x="3105" y="1196"/>
                  </a:lnTo>
                  <a:lnTo>
                    <a:pt x="3094" y="1203"/>
                  </a:lnTo>
                  <a:lnTo>
                    <a:pt x="3083" y="1209"/>
                  </a:lnTo>
                  <a:lnTo>
                    <a:pt x="3073" y="1217"/>
                  </a:lnTo>
                  <a:lnTo>
                    <a:pt x="3063" y="1226"/>
                  </a:lnTo>
                  <a:lnTo>
                    <a:pt x="3053" y="1235"/>
                  </a:lnTo>
                  <a:lnTo>
                    <a:pt x="3044" y="1244"/>
                  </a:lnTo>
                  <a:lnTo>
                    <a:pt x="3035" y="1254"/>
                  </a:lnTo>
                  <a:lnTo>
                    <a:pt x="3027" y="1264"/>
                  </a:lnTo>
                  <a:lnTo>
                    <a:pt x="3019" y="1275"/>
                  </a:lnTo>
                  <a:lnTo>
                    <a:pt x="3013" y="1287"/>
                  </a:lnTo>
                  <a:lnTo>
                    <a:pt x="3006" y="1298"/>
                  </a:lnTo>
                  <a:lnTo>
                    <a:pt x="3003" y="1305"/>
                  </a:lnTo>
                  <a:lnTo>
                    <a:pt x="2999" y="1311"/>
                  </a:lnTo>
                  <a:lnTo>
                    <a:pt x="2995" y="1324"/>
                  </a:lnTo>
                  <a:lnTo>
                    <a:pt x="2989" y="1337"/>
                  </a:lnTo>
                  <a:lnTo>
                    <a:pt x="2986" y="1352"/>
                  </a:lnTo>
                  <a:lnTo>
                    <a:pt x="2982" y="1365"/>
                  </a:lnTo>
                  <a:lnTo>
                    <a:pt x="2979" y="1381"/>
                  </a:lnTo>
                  <a:lnTo>
                    <a:pt x="2977" y="1395"/>
                  </a:lnTo>
                  <a:lnTo>
                    <a:pt x="2975" y="1412"/>
                  </a:lnTo>
                  <a:lnTo>
                    <a:pt x="2974" y="1427"/>
                  </a:lnTo>
                  <a:lnTo>
                    <a:pt x="2974" y="1444"/>
                  </a:lnTo>
                  <a:lnTo>
                    <a:pt x="2974" y="1459"/>
                  </a:lnTo>
                  <a:lnTo>
                    <a:pt x="2975" y="1475"/>
                  </a:lnTo>
                  <a:lnTo>
                    <a:pt x="2977" y="1489"/>
                  </a:lnTo>
                  <a:lnTo>
                    <a:pt x="2979" y="1505"/>
                  </a:lnTo>
                  <a:lnTo>
                    <a:pt x="2982" y="1518"/>
                  </a:lnTo>
                  <a:lnTo>
                    <a:pt x="2986" y="1533"/>
                  </a:lnTo>
                  <a:lnTo>
                    <a:pt x="2990" y="1546"/>
                  </a:lnTo>
                  <a:lnTo>
                    <a:pt x="2993" y="1553"/>
                  </a:lnTo>
                  <a:lnTo>
                    <a:pt x="2995" y="1559"/>
                  </a:lnTo>
                  <a:lnTo>
                    <a:pt x="3000" y="1572"/>
                  </a:lnTo>
                  <a:lnTo>
                    <a:pt x="3006" y="1584"/>
                  </a:lnTo>
                  <a:lnTo>
                    <a:pt x="3013" y="1596"/>
                  </a:lnTo>
                  <a:lnTo>
                    <a:pt x="3020" y="1607"/>
                  </a:lnTo>
                  <a:lnTo>
                    <a:pt x="3028" y="1617"/>
                  </a:lnTo>
                  <a:lnTo>
                    <a:pt x="3037" y="1628"/>
                  </a:lnTo>
                  <a:lnTo>
                    <a:pt x="3046" y="1638"/>
                  </a:lnTo>
                  <a:lnTo>
                    <a:pt x="3055" y="1647"/>
                  </a:lnTo>
                  <a:lnTo>
                    <a:pt x="3065" y="1656"/>
                  </a:lnTo>
                  <a:lnTo>
                    <a:pt x="3076" y="1665"/>
                  </a:lnTo>
                  <a:lnTo>
                    <a:pt x="3086" y="1673"/>
                  </a:lnTo>
                  <a:lnTo>
                    <a:pt x="3098" y="1680"/>
                  </a:lnTo>
                  <a:lnTo>
                    <a:pt x="3110" y="1687"/>
                  </a:lnTo>
                  <a:lnTo>
                    <a:pt x="3123" y="1693"/>
                  </a:lnTo>
                  <a:lnTo>
                    <a:pt x="3135" y="1699"/>
                  </a:lnTo>
                  <a:lnTo>
                    <a:pt x="3148" y="1704"/>
                  </a:lnTo>
                  <a:lnTo>
                    <a:pt x="3163" y="1709"/>
                  </a:lnTo>
                  <a:lnTo>
                    <a:pt x="3177" y="1713"/>
                  </a:lnTo>
                  <a:lnTo>
                    <a:pt x="3191" y="1716"/>
                  </a:lnTo>
                  <a:lnTo>
                    <a:pt x="3206" y="1719"/>
                  </a:lnTo>
                  <a:lnTo>
                    <a:pt x="3221" y="1722"/>
                  </a:lnTo>
                  <a:lnTo>
                    <a:pt x="3237" y="1723"/>
                  </a:lnTo>
                  <a:lnTo>
                    <a:pt x="3254" y="1724"/>
                  </a:lnTo>
                  <a:lnTo>
                    <a:pt x="3270" y="1724"/>
                  </a:lnTo>
                  <a:lnTo>
                    <a:pt x="3287" y="1724"/>
                  </a:lnTo>
                  <a:lnTo>
                    <a:pt x="3304" y="1723"/>
                  </a:lnTo>
                  <a:lnTo>
                    <a:pt x="3319" y="1722"/>
                  </a:lnTo>
                  <a:lnTo>
                    <a:pt x="3335" y="1719"/>
                  </a:lnTo>
                  <a:lnTo>
                    <a:pt x="3350" y="1717"/>
                  </a:lnTo>
                  <a:lnTo>
                    <a:pt x="3365" y="1714"/>
                  </a:lnTo>
                  <a:lnTo>
                    <a:pt x="3379" y="1710"/>
                  </a:lnTo>
                  <a:lnTo>
                    <a:pt x="3393" y="1706"/>
                  </a:lnTo>
                  <a:lnTo>
                    <a:pt x="3406" y="1702"/>
                  </a:lnTo>
                  <a:lnTo>
                    <a:pt x="3419" y="1697"/>
                  </a:lnTo>
                  <a:lnTo>
                    <a:pt x="3445" y="1686"/>
                  </a:lnTo>
                  <a:lnTo>
                    <a:pt x="3456" y="1680"/>
                  </a:lnTo>
                  <a:lnTo>
                    <a:pt x="3468" y="1675"/>
                  </a:lnTo>
                  <a:lnTo>
                    <a:pt x="3489" y="1663"/>
                  </a:lnTo>
                  <a:lnTo>
                    <a:pt x="3426" y="1532"/>
                  </a:lnTo>
                  <a:lnTo>
                    <a:pt x="3413" y="1539"/>
                  </a:lnTo>
                  <a:lnTo>
                    <a:pt x="3397" y="1548"/>
                  </a:lnTo>
                  <a:lnTo>
                    <a:pt x="3380" y="1556"/>
                  </a:lnTo>
                  <a:lnTo>
                    <a:pt x="3361" y="1564"/>
                  </a:lnTo>
                  <a:lnTo>
                    <a:pt x="3340" y="1570"/>
                  </a:lnTo>
                  <a:lnTo>
                    <a:pt x="3330" y="1573"/>
                  </a:lnTo>
                  <a:lnTo>
                    <a:pt x="3319" y="1575"/>
                  </a:lnTo>
                  <a:lnTo>
                    <a:pt x="3308" y="1577"/>
                  </a:lnTo>
                  <a:lnTo>
                    <a:pt x="3296" y="1578"/>
                  </a:lnTo>
                  <a:lnTo>
                    <a:pt x="3285" y="1579"/>
                  </a:lnTo>
                  <a:lnTo>
                    <a:pt x="3273" y="1579"/>
                  </a:lnTo>
                  <a:lnTo>
                    <a:pt x="3259" y="1579"/>
                  </a:lnTo>
                  <a:lnTo>
                    <a:pt x="3247" y="1578"/>
                  </a:lnTo>
                  <a:lnTo>
                    <a:pt x="3235" y="1576"/>
                  </a:lnTo>
                  <a:lnTo>
                    <a:pt x="3223" y="1574"/>
                  </a:lnTo>
                  <a:lnTo>
                    <a:pt x="3217" y="1573"/>
                  </a:lnTo>
                  <a:lnTo>
                    <a:pt x="3211" y="1570"/>
                  </a:lnTo>
                  <a:lnTo>
                    <a:pt x="3201" y="1566"/>
                  </a:lnTo>
                  <a:lnTo>
                    <a:pt x="3191" y="1562"/>
                  </a:lnTo>
                  <a:lnTo>
                    <a:pt x="3183" y="1556"/>
                  </a:lnTo>
                  <a:lnTo>
                    <a:pt x="3174" y="1549"/>
                  </a:lnTo>
                  <a:lnTo>
                    <a:pt x="3166" y="1543"/>
                  </a:lnTo>
                  <a:lnTo>
                    <a:pt x="3159" y="1535"/>
                  </a:lnTo>
                  <a:lnTo>
                    <a:pt x="3153" y="1526"/>
                  </a:lnTo>
                  <a:lnTo>
                    <a:pt x="3147" y="1516"/>
                  </a:lnTo>
                  <a:lnTo>
                    <a:pt x="3143" y="1506"/>
                  </a:lnTo>
                  <a:lnTo>
                    <a:pt x="3139" y="1495"/>
                  </a:lnTo>
                  <a:lnTo>
                    <a:pt x="3138" y="1489"/>
                  </a:lnTo>
                  <a:lnTo>
                    <a:pt x="3137" y="1483"/>
                  </a:lnTo>
                  <a:lnTo>
                    <a:pt x="3517" y="1483"/>
                  </a:lnTo>
                  <a:lnTo>
                    <a:pt x="3517" y="1444"/>
                  </a:lnTo>
                  <a:lnTo>
                    <a:pt x="3517" y="1426"/>
                  </a:lnTo>
                  <a:lnTo>
                    <a:pt x="3516" y="1409"/>
                  </a:lnTo>
                  <a:lnTo>
                    <a:pt x="3515" y="1393"/>
                  </a:lnTo>
                  <a:lnTo>
                    <a:pt x="3512" y="1376"/>
                  </a:lnTo>
                  <a:lnTo>
                    <a:pt x="3509" y="1362"/>
                  </a:lnTo>
                  <a:lnTo>
                    <a:pt x="3508" y="1354"/>
                  </a:lnTo>
                  <a:lnTo>
                    <a:pt x="3507" y="1346"/>
                  </a:lnTo>
                  <a:lnTo>
                    <a:pt x="3502" y="1332"/>
                  </a:lnTo>
                  <a:lnTo>
                    <a:pt x="3498" y="1318"/>
                  </a:lnTo>
                  <a:lnTo>
                    <a:pt x="3494" y="1305"/>
                  </a:lnTo>
                  <a:lnTo>
                    <a:pt x="3488" y="1293"/>
                  </a:lnTo>
                  <a:lnTo>
                    <a:pt x="3483" y="1281"/>
                  </a:lnTo>
                  <a:lnTo>
                    <a:pt x="3476" y="1269"/>
                  </a:lnTo>
                  <a:lnTo>
                    <a:pt x="3469" y="1259"/>
                  </a:lnTo>
                  <a:lnTo>
                    <a:pt x="3461" y="1248"/>
                  </a:lnTo>
                  <a:lnTo>
                    <a:pt x="3454" y="1239"/>
                  </a:lnTo>
                  <a:lnTo>
                    <a:pt x="3446" y="1229"/>
                  </a:lnTo>
                  <a:lnTo>
                    <a:pt x="3437" y="1222"/>
                  </a:lnTo>
                  <a:lnTo>
                    <a:pt x="3427" y="1214"/>
                  </a:lnTo>
                  <a:lnTo>
                    <a:pt x="3418" y="1206"/>
                  </a:lnTo>
                  <a:lnTo>
                    <a:pt x="3407" y="1199"/>
                  </a:lnTo>
                  <a:lnTo>
                    <a:pt x="3397" y="1193"/>
                  </a:lnTo>
                  <a:lnTo>
                    <a:pt x="3386" y="1187"/>
                  </a:lnTo>
                  <a:lnTo>
                    <a:pt x="3375" y="1182"/>
                  </a:lnTo>
                  <a:lnTo>
                    <a:pt x="3363" y="1177"/>
                  </a:lnTo>
                  <a:lnTo>
                    <a:pt x="3350" y="1173"/>
                  </a:lnTo>
                  <a:lnTo>
                    <a:pt x="3337" y="1169"/>
                  </a:lnTo>
                  <a:lnTo>
                    <a:pt x="3325" y="1167"/>
                  </a:lnTo>
                  <a:lnTo>
                    <a:pt x="3311" y="1164"/>
                  </a:lnTo>
                  <a:lnTo>
                    <a:pt x="3297" y="1163"/>
                  </a:lnTo>
                  <a:lnTo>
                    <a:pt x="3284" y="1161"/>
                  </a:lnTo>
                  <a:lnTo>
                    <a:pt x="3269" y="1161"/>
                  </a:lnTo>
                  <a:lnTo>
                    <a:pt x="3254" y="1160"/>
                  </a:lnTo>
                  <a:close/>
                  <a:moveTo>
                    <a:pt x="3248" y="1283"/>
                  </a:moveTo>
                  <a:lnTo>
                    <a:pt x="3258" y="1284"/>
                  </a:lnTo>
                  <a:lnTo>
                    <a:pt x="3268" y="1285"/>
                  </a:lnTo>
                  <a:lnTo>
                    <a:pt x="3278" y="1287"/>
                  </a:lnTo>
                  <a:lnTo>
                    <a:pt x="3287" y="1289"/>
                  </a:lnTo>
                  <a:lnTo>
                    <a:pt x="3296" y="1293"/>
                  </a:lnTo>
                  <a:lnTo>
                    <a:pt x="3305" y="1297"/>
                  </a:lnTo>
                  <a:lnTo>
                    <a:pt x="3311" y="1303"/>
                  </a:lnTo>
                  <a:lnTo>
                    <a:pt x="3319" y="1308"/>
                  </a:lnTo>
                  <a:lnTo>
                    <a:pt x="3323" y="1312"/>
                  </a:lnTo>
                  <a:lnTo>
                    <a:pt x="3326" y="1315"/>
                  </a:lnTo>
                  <a:lnTo>
                    <a:pt x="3331" y="1323"/>
                  </a:lnTo>
                  <a:lnTo>
                    <a:pt x="3336" y="1331"/>
                  </a:lnTo>
                  <a:lnTo>
                    <a:pt x="3340" y="1339"/>
                  </a:lnTo>
                  <a:lnTo>
                    <a:pt x="3344" y="1348"/>
                  </a:lnTo>
                  <a:lnTo>
                    <a:pt x="3347" y="1358"/>
                  </a:lnTo>
                  <a:lnTo>
                    <a:pt x="3348" y="1364"/>
                  </a:lnTo>
                  <a:lnTo>
                    <a:pt x="3348" y="1369"/>
                  </a:lnTo>
                  <a:lnTo>
                    <a:pt x="3349" y="1375"/>
                  </a:lnTo>
                  <a:lnTo>
                    <a:pt x="3349" y="1381"/>
                  </a:lnTo>
                  <a:lnTo>
                    <a:pt x="3138" y="1381"/>
                  </a:lnTo>
                  <a:lnTo>
                    <a:pt x="3139" y="1368"/>
                  </a:lnTo>
                  <a:lnTo>
                    <a:pt x="3143" y="1357"/>
                  </a:lnTo>
                  <a:lnTo>
                    <a:pt x="3146" y="1346"/>
                  </a:lnTo>
                  <a:lnTo>
                    <a:pt x="3150" y="1336"/>
                  </a:lnTo>
                  <a:lnTo>
                    <a:pt x="3153" y="1332"/>
                  </a:lnTo>
                  <a:lnTo>
                    <a:pt x="3155" y="1327"/>
                  </a:lnTo>
                  <a:lnTo>
                    <a:pt x="3160" y="1319"/>
                  </a:lnTo>
                  <a:lnTo>
                    <a:pt x="3167" y="1313"/>
                  </a:lnTo>
                  <a:lnTo>
                    <a:pt x="3174" y="1306"/>
                  </a:lnTo>
                  <a:lnTo>
                    <a:pt x="3181" y="1301"/>
                  </a:lnTo>
                  <a:lnTo>
                    <a:pt x="3189" y="1296"/>
                  </a:lnTo>
                  <a:lnTo>
                    <a:pt x="3198" y="1292"/>
                  </a:lnTo>
                  <a:lnTo>
                    <a:pt x="3207" y="1288"/>
                  </a:lnTo>
                  <a:lnTo>
                    <a:pt x="3217" y="1286"/>
                  </a:lnTo>
                  <a:lnTo>
                    <a:pt x="3227" y="1284"/>
                  </a:lnTo>
                  <a:lnTo>
                    <a:pt x="3237" y="1283"/>
                  </a:lnTo>
                  <a:lnTo>
                    <a:pt x="3248" y="1283"/>
                  </a:lnTo>
                  <a:close/>
                  <a:moveTo>
                    <a:pt x="292" y="601"/>
                  </a:moveTo>
                  <a:lnTo>
                    <a:pt x="292" y="614"/>
                  </a:lnTo>
                  <a:lnTo>
                    <a:pt x="292" y="626"/>
                  </a:lnTo>
                  <a:lnTo>
                    <a:pt x="290" y="651"/>
                  </a:lnTo>
                  <a:lnTo>
                    <a:pt x="288" y="662"/>
                  </a:lnTo>
                  <a:lnTo>
                    <a:pt x="286" y="672"/>
                  </a:lnTo>
                  <a:lnTo>
                    <a:pt x="283" y="683"/>
                  </a:lnTo>
                  <a:lnTo>
                    <a:pt x="280" y="693"/>
                  </a:lnTo>
                  <a:lnTo>
                    <a:pt x="277" y="702"/>
                  </a:lnTo>
                  <a:lnTo>
                    <a:pt x="273" y="712"/>
                  </a:lnTo>
                  <a:lnTo>
                    <a:pt x="269" y="721"/>
                  </a:lnTo>
                  <a:lnTo>
                    <a:pt x="265" y="729"/>
                  </a:lnTo>
                  <a:lnTo>
                    <a:pt x="259" y="736"/>
                  </a:lnTo>
                  <a:lnTo>
                    <a:pt x="253" y="744"/>
                  </a:lnTo>
                  <a:lnTo>
                    <a:pt x="248" y="751"/>
                  </a:lnTo>
                  <a:lnTo>
                    <a:pt x="242" y="757"/>
                  </a:lnTo>
                  <a:lnTo>
                    <a:pt x="236" y="763"/>
                  </a:lnTo>
                  <a:lnTo>
                    <a:pt x="228" y="770"/>
                  </a:lnTo>
                  <a:lnTo>
                    <a:pt x="221" y="774"/>
                  </a:lnTo>
                  <a:lnTo>
                    <a:pt x="213" y="780"/>
                  </a:lnTo>
                  <a:lnTo>
                    <a:pt x="205" y="784"/>
                  </a:lnTo>
                  <a:lnTo>
                    <a:pt x="196" y="789"/>
                  </a:lnTo>
                  <a:lnTo>
                    <a:pt x="187" y="792"/>
                  </a:lnTo>
                  <a:lnTo>
                    <a:pt x="178" y="795"/>
                  </a:lnTo>
                  <a:lnTo>
                    <a:pt x="168" y="797"/>
                  </a:lnTo>
                  <a:lnTo>
                    <a:pt x="157" y="801"/>
                  </a:lnTo>
                  <a:lnTo>
                    <a:pt x="147" y="803"/>
                  </a:lnTo>
                  <a:lnTo>
                    <a:pt x="136" y="804"/>
                  </a:lnTo>
                  <a:lnTo>
                    <a:pt x="123" y="805"/>
                  </a:lnTo>
                  <a:lnTo>
                    <a:pt x="111" y="806"/>
                  </a:lnTo>
                  <a:lnTo>
                    <a:pt x="99" y="807"/>
                  </a:lnTo>
                  <a:lnTo>
                    <a:pt x="86" y="807"/>
                  </a:lnTo>
                  <a:lnTo>
                    <a:pt x="29" y="807"/>
                  </a:lnTo>
                  <a:lnTo>
                    <a:pt x="29" y="641"/>
                  </a:lnTo>
                  <a:lnTo>
                    <a:pt x="68" y="641"/>
                  </a:lnTo>
                  <a:lnTo>
                    <a:pt x="78" y="640"/>
                  </a:lnTo>
                  <a:lnTo>
                    <a:pt x="82" y="639"/>
                  </a:lnTo>
                  <a:lnTo>
                    <a:pt x="87" y="637"/>
                  </a:lnTo>
                  <a:lnTo>
                    <a:pt x="91" y="635"/>
                  </a:lnTo>
                  <a:lnTo>
                    <a:pt x="96" y="633"/>
                  </a:lnTo>
                  <a:lnTo>
                    <a:pt x="99" y="630"/>
                  </a:lnTo>
                  <a:lnTo>
                    <a:pt x="102" y="626"/>
                  </a:lnTo>
                  <a:lnTo>
                    <a:pt x="108" y="619"/>
                  </a:lnTo>
                  <a:lnTo>
                    <a:pt x="110" y="614"/>
                  </a:lnTo>
                  <a:lnTo>
                    <a:pt x="111" y="610"/>
                  </a:lnTo>
                  <a:lnTo>
                    <a:pt x="112" y="604"/>
                  </a:lnTo>
                  <a:lnTo>
                    <a:pt x="113" y="597"/>
                  </a:lnTo>
                  <a:lnTo>
                    <a:pt x="115" y="591"/>
                  </a:lnTo>
                  <a:lnTo>
                    <a:pt x="115" y="584"/>
                  </a:lnTo>
                  <a:lnTo>
                    <a:pt x="115" y="0"/>
                  </a:lnTo>
                  <a:lnTo>
                    <a:pt x="292" y="0"/>
                  </a:lnTo>
                  <a:lnTo>
                    <a:pt x="292" y="601"/>
                  </a:lnTo>
                  <a:close/>
                  <a:moveTo>
                    <a:pt x="929" y="539"/>
                  </a:moveTo>
                  <a:lnTo>
                    <a:pt x="929" y="554"/>
                  </a:lnTo>
                  <a:lnTo>
                    <a:pt x="928" y="570"/>
                  </a:lnTo>
                  <a:lnTo>
                    <a:pt x="925" y="584"/>
                  </a:lnTo>
                  <a:lnTo>
                    <a:pt x="923" y="600"/>
                  </a:lnTo>
                  <a:lnTo>
                    <a:pt x="920" y="614"/>
                  </a:lnTo>
                  <a:lnTo>
                    <a:pt x="917" y="627"/>
                  </a:lnTo>
                  <a:lnTo>
                    <a:pt x="912" y="641"/>
                  </a:lnTo>
                  <a:lnTo>
                    <a:pt x="907" y="654"/>
                  </a:lnTo>
                  <a:lnTo>
                    <a:pt x="901" y="667"/>
                  </a:lnTo>
                  <a:lnTo>
                    <a:pt x="894" y="680"/>
                  </a:lnTo>
                  <a:lnTo>
                    <a:pt x="888" y="691"/>
                  </a:lnTo>
                  <a:lnTo>
                    <a:pt x="880" y="703"/>
                  </a:lnTo>
                  <a:lnTo>
                    <a:pt x="872" y="713"/>
                  </a:lnTo>
                  <a:lnTo>
                    <a:pt x="863" y="724"/>
                  </a:lnTo>
                  <a:lnTo>
                    <a:pt x="854" y="734"/>
                  </a:lnTo>
                  <a:lnTo>
                    <a:pt x="844" y="743"/>
                  </a:lnTo>
                  <a:lnTo>
                    <a:pt x="834" y="753"/>
                  </a:lnTo>
                  <a:lnTo>
                    <a:pt x="823" y="761"/>
                  </a:lnTo>
                  <a:lnTo>
                    <a:pt x="812" y="769"/>
                  </a:lnTo>
                  <a:lnTo>
                    <a:pt x="800" y="776"/>
                  </a:lnTo>
                  <a:lnTo>
                    <a:pt x="789" y="783"/>
                  </a:lnTo>
                  <a:lnTo>
                    <a:pt x="776" y="790"/>
                  </a:lnTo>
                  <a:lnTo>
                    <a:pt x="763" y="795"/>
                  </a:lnTo>
                  <a:lnTo>
                    <a:pt x="750" y="801"/>
                  </a:lnTo>
                  <a:lnTo>
                    <a:pt x="736" y="805"/>
                  </a:lnTo>
                  <a:lnTo>
                    <a:pt x="722" y="810"/>
                  </a:lnTo>
                  <a:lnTo>
                    <a:pt x="708" y="813"/>
                  </a:lnTo>
                  <a:lnTo>
                    <a:pt x="692" y="816"/>
                  </a:lnTo>
                  <a:lnTo>
                    <a:pt x="678" y="819"/>
                  </a:lnTo>
                  <a:lnTo>
                    <a:pt x="662" y="820"/>
                  </a:lnTo>
                  <a:lnTo>
                    <a:pt x="647" y="821"/>
                  </a:lnTo>
                  <a:lnTo>
                    <a:pt x="630" y="821"/>
                  </a:lnTo>
                  <a:lnTo>
                    <a:pt x="614" y="821"/>
                  </a:lnTo>
                  <a:lnTo>
                    <a:pt x="599" y="820"/>
                  </a:lnTo>
                  <a:lnTo>
                    <a:pt x="583" y="819"/>
                  </a:lnTo>
                  <a:lnTo>
                    <a:pt x="568" y="816"/>
                  </a:lnTo>
                  <a:lnTo>
                    <a:pt x="553" y="813"/>
                  </a:lnTo>
                  <a:lnTo>
                    <a:pt x="539" y="810"/>
                  </a:lnTo>
                  <a:lnTo>
                    <a:pt x="526" y="805"/>
                  </a:lnTo>
                  <a:lnTo>
                    <a:pt x="511" y="801"/>
                  </a:lnTo>
                  <a:lnTo>
                    <a:pt x="498" y="795"/>
                  </a:lnTo>
                  <a:lnTo>
                    <a:pt x="486" y="790"/>
                  </a:lnTo>
                  <a:lnTo>
                    <a:pt x="473" y="783"/>
                  </a:lnTo>
                  <a:lnTo>
                    <a:pt x="461" y="776"/>
                  </a:lnTo>
                  <a:lnTo>
                    <a:pt x="449" y="769"/>
                  </a:lnTo>
                  <a:lnTo>
                    <a:pt x="438" y="761"/>
                  </a:lnTo>
                  <a:lnTo>
                    <a:pt x="428" y="753"/>
                  </a:lnTo>
                  <a:lnTo>
                    <a:pt x="417" y="743"/>
                  </a:lnTo>
                  <a:lnTo>
                    <a:pt x="408" y="734"/>
                  </a:lnTo>
                  <a:lnTo>
                    <a:pt x="398" y="724"/>
                  </a:lnTo>
                  <a:lnTo>
                    <a:pt x="390" y="713"/>
                  </a:lnTo>
                  <a:lnTo>
                    <a:pt x="381" y="703"/>
                  </a:lnTo>
                  <a:lnTo>
                    <a:pt x="375" y="691"/>
                  </a:lnTo>
                  <a:lnTo>
                    <a:pt x="367" y="680"/>
                  </a:lnTo>
                  <a:lnTo>
                    <a:pt x="361" y="667"/>
                  </a:lnTo>
                  <a:lnTo>
                    <a:pt x="355" y="654"/>
                  </a:lnTo>
                  <a:lnTo>
                    <a:pt x="350" y="641"/>
                  </a:lnTo>
                  <a:lnTo>
                    <a:pt x="346" y="627"/>
                  </a:lnTo>
                  <a:lnTo>
                    <a:pt x="341" y="614"/>
                  </a:lnTo>
                  <a:lnTo>
                    <a:pt x="338" y="600"/>
                  </a:lnTo>
                  <a:lnTo>
                    <a:pt x="336" y="584"/>
                  </a:lnTo>
                  <a:lnTo>
                    <a:pt x="335" y="570"/>
                  </a:lnTo>
                  <a:lnTo>
                    <a:pt x="333" y="554"/>
                  </a:lnTo>
                  <a:lnTo>
                    <a:pt x="332" y="539"/>
                  </a:lnTo>
                  <a:lnTo>
                    <a:pt x="333" y="523"/>
                  </a:lnTo>
                  <a:lnTo>
                    <a:pt x="335" y="508"/>
                  </a:lnTo>
                  <a:lnTo>
                    <a:pt x="336" y="492"/>
                  </a:lnTo>
                  <a:lnTo>
                    <a:pt x="338" y="478"/>
                  </a:lnTo>
                  <a:lnTo>
                    <a:pt x="341" y="463"/>
                  </a:lnTo>
                  <a:lnTo>
                    <a:pt x="346" y="449"/>
                  </a:lnTo>
                  <a:lnTo>
                    <a:pt x="350" y="435"/>
                  </a:lnTo>
                  <a:lnTo>
                    <a:pt x="355" y="422"/>
                  </a:lnTo>
                  <a:lnTo>
                    <a:pt x="361" y="410"/>
                  </a:lnTo>
                  <a:lnTo>
                    <a:pt x="367" y="398"/>
                  </a:lnTo>
                  <a:lnTo>
                    <a:pt x="375" y="385"/>
                  </a:lnTo>
                  <a:lnTo>
                    <a:pt x="381" y="374"/>
                  </a:lnTo>
                  <a:lnTo>
                    <a:pt x="390" y="363"/>
                  </a:lnTo>
                  <a:lnTo>
                    <a:pt x="398" y="353"/>
                  </a:lnTo>
                  <a:lnTo>
                    <a:pt x="408" y="343"/>
                  </a:lnTo>
                  <a:lnTo>
                    <a:pt x="417" y="333"/>
                  </a:lnTo>
                  <a:lnTo>
                    <a:pt x="428" y="324"/>
                  </a:lnTo>
                  <a:lnTo>
                    <a:pt x="438" y="315"/>
                  </a:lnTo>
                  <a:lnTo>
                    <a:pt x="449" y="308"/>
                  </a:lnTo>
                  <a:lnTo>
                    <a:pt x="461" y="300"/>
                  </a:lnTo>
                  <a:lnTo>
                    <a:pt x="473" y="293"/>
                  </a:lnTo>
                  <a:lnTo>
                    <a:pt x="486" y="288"/>
                  </a:lnTo>
                  <a:lnTo>
                    <a:pt x="498" y="281"/>
                  </a:lnTo>
                  <a:lnTo>
                    <a:pt x="511" y="276"/>
                  </a:lnTo>
                  <a:lnTo>
                    <a:pt x="526" y="271"/>
                  </a:lnTo>
                  <a:lnTo>
                    <a:pt x="539" y="268"/>
                  </a:lnTo>
                  <a:lnTo>
                    <a:pt x="553" y="264"/>
                  </a:lnTo>
                  <a:lnTo>
                    <a:pt x="568" y="261"/>
                  </a:lnTo>
                  <a:lnTo>
                    <a:pt x="583" y="259"/>
                  </a:lnTo>
                  <a:lnTo>
                    <a:pt x="599" y="258"/>
                  </a:lnTo>
                  <a:lnTo>
                    <a:pt x="614" y="256"/>
                  </a:lnTo>
                  <a:lnTo>
                    <a:pt x="630" y="255"/>
                  </a:lnTo>
                  <a:lnTo>
                    <a:pt x="647" y="256"/>
                  </a:lnTo>
                  <a:lnTo>
                    <a:pt x="662" y="258"/>
                  </a:lnTo>
                  <a:lnTo>
                    <a:pt x="678" y="259"/>
                  </a:lnTo>
                  <a:lnTo>
                    <a:pt x="692" y="261"/>
                  </a:lnTo>
                  <a:lnTo>
                    <a:pt x="708" y="264"/>
                  </a:lnTo>
                  <a:lnTo>
                    <a:pt x="722" y="268"/>
                  </a:lnTo>
                  <a:lnTo>
                    <a:pt x="736" y="271"/>
                  </a:lnTo>
                  <a:lnTo>
                    <a:pt x="750" y="276"/>
                  </a:lnTo>
                  <a:lnTo>
                    <a:pt x="763" y="281"/>
                  </a:lnTo>
                  <a:lnTo>
                    <a:pt x="776" y="288"/>
                  </a:lnTo>
                  <a:lnTo>
                    <a:pt x="789" y="293"/>
                  </a:lnTo>
                  <a:lnTo>
                    <a:pt x="800" y="300"/>
                  </a:lnTo>
                  <a:lnTo>
                    <a:pt x="812" y="308"/>
                  </a:lnTo>
                  <a:lnTo>
                    <a:pt x="823" y="315"/>
                  </a:lnTo>
                  <a:lnTo>
                    <a:pt x="834" y="324"/>
                  </a:lnTo>
                  <a:lnTo>
                    <a:pt x="844" y="333"/>
                  </a:lnTo>
                  <a:lnTo>
                    <a:pt x="854" y="343"/>
                  </a:lnTo>
                  <a:lnTo>
                    <a:pt x="863" y="353"/>
                  </a:lnTo>
                  <a:lnTo>
                    <a:pt x="872" y="363"/>
                  </a:lnTo>
                  <a:lnTo>
                    <a:pt x="880" y="374"/>
                  </a:lnTo>
                  <a:lnTo>
                    <a:pt x="888" y="385"/>
                  </a:lnTo>
                  <a:lnTo>
                    <a:pt x="894" y="398"/>
                  </a:lnTo>
                  <a:lnTo>
                    <a:pt x="901" y="410"/>
                  </a:lnTo>
                  <a:lnTo>
                    <a:pt x="907" y="422"/>
                  </a:lnTo>
                  <a:lnTo>
                    <a:pt x="912" y="435"/>
                  </a:lnTo>
                  <a:lnTo>
                    <a:pt x="917" y="449"/>
                  </a:lnTo>
                  <a:lnTo>
                    <a:pt x="920" y="463"/>
                  </a:lnTo>
                  <a:lnTo>
                    <a:pt x="923" y="478"/>
                  </a:lnTo>
                  <a:lnTo>
                    <a:pt x="925" y="492"/>
                  </a:lnTo>
                  <a:lnTo>
                    <a:pt x="928" y="508"/>
                  </a:lnTo>
                  <a:lnTo>
                    <a:pt x="929" y="523"/>
                  </a:lnTo>
                  <a:lnTo>
                    <a:pt x="929" y="539"/>
                  </a:lnTo>
                  <a:close/>
                  <a:moveTo>
                    <a:pt x="506" y="539"/>
                  </a:moveTo>
                  <a:lnTo>
                    <a:pt x="507" y="552"/>
                  </a:lnTo>
                  <a:lnTo>
                    <a:pt x="509" y="565"/>
                  </a:lnTo>
                  <a:lnTo>
                    <a:pt x="511" y="577"/>
                  </a:lnTo>
                  <a:lnTo>
                    <a:pt x="513" y="584"/>
                  </a:lnTo>
                  <a:lnTo>
                    <a:pt x="516" y="590"/>
                  </a:lnTo>
                  <a:lnTo>
                    <a:pt x="521" y="601"/>
                  </a:lnTo>
                  <a:lnTo>
                    <a:pt x="527" y="611"/>
                  </a:lnTo>
                  <a:lnTo>
                    <a:pt x="534" y="621"/>
                  </a:lnTo>
                  <a:lnTo>
                    <a:pt x="542" y="629"/>
                  </a:lnTo>
                  <a:lnTo>
                    <a:pt x="547" y="633"/>
                  </a:lnTo>
                  <a:lnTo>
                    <a:pt x="551" y="636"/>
                  </a:lnTo>
                  <a:lnTo>
                    <a:pt x="556" y="640"/>
                  </a:lnTo>
                  <a:lnTo>
                    <a:pt x="561" y="643"/>
                  </a:lnTo>
                  <a:lnTo>
                    <a:pt x="571" y="649"/>
                  </a:lnTo>
                  <a:lnTo>
                    <a:pt x="582" y="654"/>
                  </a:lnTo>
                  <a:lnTo>
                    <a:pt x="593" y="657"/>
                  </a:lnTo>
                  <a:lnTo>
                    <a:pt x="606" y="661"/>
                  </a:lnTo>
                  <a:lnTo>
                    <a:pt x="611" y="661"/>
                  </a:lnTo>
                  <a:lnTo>
                    <a:pt x="618" y="662"/>
                  </a:lnTo>
                  <a:lnTo>
                    <a:pt x="630" y="663"/>
                  </a:lnTo>
                  <a:lnTo>
                    <a:pt x="643" y="662"/>
                  </a:lnTo>
                  <a:lnTo>
                    <a:pt x="656" y="661"/>
                  </a:lnTo>
                  <a:lnTo>
                    <a:pt x="668" y="657"/>
                  </a:lnTo>
                  <a:lnTo>
                    <a:pt x="673" y="656"/>
                  </a:lnTo>
                  <a:lnTo>
                    <a:pt x="679" y="654"/>
                  </a:lnTo>
                  <a:lnTo>
                    <a:pt x="690" y="649"/>
                  </a:lnTo>
                  <a:lnTo>
                    <a:pt x="696" y="646"/>
                  </a:lnTo>
                  <a:lnTo>
                    <a:pt x="700" y="643"/>
                  </a:lnTo>
                  <a:lnTo>
                    <a:pt x="706" y="640"/>
                  </a:lnTo>
                  <a:lnTo>
                    <a:pt x="710" y="636"/>
                  </a:lnTo>
                  <a:lnTo>
                    <a:pt x="719" y="629"/>
                  </a:lnTo>
                  <a:lnTo>
                    <a:pt x="727" y="621"/>
                  </a:lnTo>
                  <a:lnTo>
                    <a:pt x="733" y="611"/>
                  </a:lnTo>
                  <a:lnTo>
                    <a:pt x="740" y="601"/>
                  </a:lnTo>
                  <a:lnTo>
                    <a:pt x="742" y="595"/>
                  </a:lnTo>
                  <a:lnTo>
                    <a:pt x="744" y="590"/>
                  </a:lnTo>
                  <a:lnTo>
                    <a:pt x="749" y="577"/>
                  </a:lnTo>
                  <a:lnTo>
                    <a:pt x="752" y="565"/>
                  </a:lnTo>
                  <a:lnTo>
                    <a:pt x="753" y="552"/>
                  </a:lnTo>
                  <a:lnTo>
                    <a:pt x="754" y="539"/>
                  </a:lnTo>
                  <a:lnTo>
                    <a:pt x="753" y="524"/>
                  </a:lnTo>
                  <a:lnTo>
                    <a:pt x="753" y="517"/>
                  </a:lnTo>
                  <a:lnTo>
                    <a:pt x="752" y="511"/>
                  </a:lnTo>
                  <a:lnTo>
                    <a:pt x="749" y="499"/>
                  </a:lnTo>
                  <a:lnTo>
                    <a:pt x="747" y="493"/>
                  </a:lnTo>
                  <a:lnTo>
                    <a:pt x="744" y="488"/>
                  </a:lnTo>
                  <a:lnTo>
                    <a:pt x="740" y="476"/>
                  </a:lnTo>
                  <a:lnTo>
                    <a:pt x="733" y="465"/>
                  </a:lnTo>
                  <a:lnTo>
                    <a:pt x="727" y="456"/>
                  </a:lnTo>
                  <a:lnTo>
                    <a:pt x="719" y="448"/>
                  </a:lnTo>
                  <a:lnTo>
                    <a:pt x="714" y="444"/>
                  </a:lnTo>
                  <a:lnTo>
                    <a:pt x="710" y="440"/>
                  </a:lnTo>
                  <a:lnTo>
                    <a:pt x="706" y="436"/>
                  </a:lnTo>
                  <a:lnTo>
                    <a:pt x="700" y="433"/>
                  </a:lnTo>
                  <a:lnTo>
                    <a:pt x="690" y="428"/>
                  </a:lnTo>
                  <a:lnTo>
                    <a:pt x="679" y="423"/>
                  </a:lnTo>
                  <a:lnTo>
                    <a:pt x="668" y="420"/>
                  </a:lnTo>
                  <a:lnTo>
                    <a:pt x="656" y="416"/>
                  </a:lnTo>
                  <a:lnTo>
                    <a:pt x="643" y="415"/>
                  </a:lnTo>
                  <a:lnTo>
                    <a:pt x="630" y="414"/>
                  </a:lnTo>
                  <a:lnTo>
                    <a:pt x="618" y="415"/>
                  </a:lnTo>
                  <a:lnTo>
                    <a:pt x="606" y="416"/>
                  </a:lnTo>
                  <a:lnTo>
                    <a:pt x="593" y="420"/>
                  </a:lnTo>
                  <a:lnTo>
                    <a:pt x="588" y="421"/>
                  </a:lnTo>
                  <a:lnTo>
                    <a:pt x="582" y="423"/>
                  </a:lnTo>
                  <a:lnTo>
                    <a:pt x="571" y="428"/>
                  </a:lnTo>
                  <a:lnTo>
                    <a:pt x="566" y="431"/>
                  </a:lnTo>
                  <a:lnTo>
                    <a:pt x="561" y="433"/>
                  </a:lnTo>
                  <a:lnTo>
                    <a:pt x="556" y="436"/>
                  </a:lnTo>
                  <a:lnTo>
                    <a:pt x="551" y="440"/>
                  </a:lnTo>
                  <a:lnTo>
                    <a:pt x="542" y="448"/>
                  </a:lnTo>
                  <a:lnTo>
                    <a:pt x="534" y="456"/>
                  </a:lnTo>
                  <a:lnTo>
                    <a:pt x="527" y="465"/>
                  </a:lnTo>
                  <a:lnTo>
                    <a:pt x="521" y="476"/>
                  </a:lnTo>
                  <a:lnTo>
                    <a:pt x="516" y="488"/>
                  </a:lnTo>
                  <a:lnTo>
                    <a:pt x="511" y="499"/>
                  </a:lnTo>
                  <a:lnTo>
                    <a:pt x="509" y="511"/>
                  </a:lnTo>
                  <a:lnTo>
                    <a:pt x="507" y="524"/>
                  </a:lnTo>
                  <a:lnTo>
                    <a:pt x="507" y="531"/>
                  </a:lnTo>
                  <a:lnTo>
                    <a:pt x="506" y="539"/>
                  </a:lnTo>
                  <a:close/>
                  <a:moveTo>
                    <a:pt x="1145" y="175"/>
                  </a:moveTo>
                  <a:lnTo>
                    <a:pt x="959" y="175"/>
                  </a:lnTo>
                  <a:lnTo>
                    <a:pt x="959" y="1"/>
                  </a:lnTo>
                  <a:lnTo>
                    <a:pt x="1145" y="1"/>
                  </a:lnTo>
                  <a:lnTo>
                    <a:pt x="1145" y="175"/>
                  </a:lnTo>
                  <a:close/>
                  <a:moveTo>
                    <a:pt x="965" y="273"/>
                  </a:moveTo>
                  <a:lnTo>
                    <a:pt x="1139" y="273"/>
                  </a:lnTo>
                  <a:lnTo>
                    <a:pt x="1139" y="804"/>
                  </a:lnTo>
                  <a:lnTo>
                    <a:pt x="965" y="804"/>
                  </a:lnTo>
                  <a:lnTo>
                    <a:pt x="965" y="273"/>
                  </a:lnTo>
                  <a:close/>
                  <a:moveTo>
                    <a:pt x="1750" y="475"/>
                  </a:moveTo>
                  <a:lnTo>
                    <a:pt x="1750" y="804"/>
                  </a:lnTo>
                  <a:lnTo>
                    <a:pt x="1578" y="804"/>
                  </a:lnTo>
                  <a:lnTo>
                    <a:pt x="1578" y="523"/>
                  </a:lnTo>
                  <a:lnTo>
                    <a:pt x="1576" y="509"/>
                  </a:lnTo>
                  <a:lnTo>
                    <a:pt x="1575" y="495"/>
                  </a:lnTo>
                  <a:lnTo>
                    <a:pt x="1573" y="483"/>
                  </a:lnTo>
                  <a:lnTo>
                    <a:pt x="1571" y="472"/>
                  </a:lnTo>
                  <a:lnTo>
                    <a:pt x="1568" y="462"/>
                  </a:lnTo>
                  <a:lnTo>
                    <a:pt x="1563" y="452"/>
                  </a:lnTo>
                  <a:lnTo>
                    <a:pt x="1559" y="444"/>
                  </a:lnTo>
                  <a:lnTo>
                    <a:pt x="1555" y="440"/>
                  </a:lnTo>
                  <a:lnTo>
                    <a:pt x="1552" y="436"/>
                  </a:lnTo>
                  <a:lnTo>
                    <a:pt x="1546" y="430"/>
                  </a:lnTo>
                  <a:lnTo>
                    <a:pt x="1539" y="424"/>
                  </a:lnTo>
                  <a:lnTo>
                    <a:pt x="1531" y="420"/>
                  </a:lnTo>
                  <a:lnTo>
                    <a:pt x="1522" y="415"/>
                  </a:lnTo>
                  <a:lnTo>
                    <a:pt x="1512" y="412"/>
                  </a:lnTo>
                  <a:lnTo>
                    <a:pt x="1502" y="410"/>
                  </a:lnTo>
                  <a:lnTo>
                    <a:pt x="1491" y="409"/>
                  </a:lnTo>
                  <a:lnTo>
                    <a:pt x="1480" y="409"/>
                  </a:lnTo>
                  <a:lnTo>
                    <a:pt x="1469" y="409"/>
                  </a:lnTo>
                  <a:lnTo>
                    <a:pt x="1463" y="410"/>
                  </a:lnTo>
                  <a:lnTo>
                    <a:pt x="1459" y="410"/>
                  </a:lnTo>
                  <a:lnTo>
                    <a:pt x="1449" y="412"/>
                  </a:lnTo>
                  <a:lnTo>
                    <a:pt x="1439" y="415"/>
                  </a:lnTo>
                  <a:lnTo>
                    <a:pt x="1430" y="420"/>
                  </a:lnTo>
                  <a:lnTo>
                    <a:pt x="1425" y="422"/>
                  </a:lnTo>
                  <a:lnTo>
                    <a:pt x="1421" y="424"/>
                  </a:lnTo>
                  <a:lnTo>
                    <a:pt x="1413" y="431"/>
                  </a:lnTo>
                  <a:lnTo>
                    <a:pt x="1410" y="434"/>
                  </a:lnTo>
                  <a:lnTo>
                    <a:pt x="1406" y="438"/>
                  </a:lnTo>
                  <a:lnTo>
                    <a:pt x="1403" y="442"/>
                  </a:lnTo>
                  <a:lnTo>
                    <a:pt x="1400" y="445"/>
                  </a:lnTo>
                  <a:lnTo>
                    <a:pt x="1394" y="455"/>
                  </a:lnTo>
                  <a:lnTo>
                    <a:pt x="1389" y="465"/>
                  </a:lnTo>
                  <a:lnTo>
                    <a:pt x="1386" y="471"/>
                  </a:lnTo>
                  <a:lnTo>
                    <a:pt x="1385" y="478"/>
                  </a:lnTo>
                  <a:lnTo>
                    <a:pt x="1383" y="484"/>
                  </a:lnTo>
                  <a:lnTo>
                    <a:pt x="1382" y="491"/>
                  </a:lnTo>
                  <a:lnTo>
                    <a:pt x="1379" y="504"/>
                  </a:lnTo>
                  <a:lnTo>
                    <a:pt x="1378" y="520"/>
                  </a:lnTo>
                  <a:lnTo>
                    <a:pt x="1378" y="537"/>
                  </a:lnTo>
                  <a:lnTo>
                    <a:pt x="1378" y="804"/>
                  </a:lnTo>
                  <a:lnTo>
                    <a:pt x="1203" y="804"/>
                  </a:lnTo>
                  <a:lnTo>
                    <a:pt x="1203" y="273"/>
                  </a:lnTo>
                  <a:lnTo>
                    <a:pt x="1374" y="273"/>
                  </a:lnTo>
                  <a:lnTo>
                    <a:pt x="1374" y="353"/>
                  </a:lnTo>
                  <a:lnTo>
                    <a:pt x="1376" y="353"/>
                  </a:lnTo>
                  <a:lnTo>
                    <a:pt x="1383" y="342"/>
                  </a:lnTo>
                  <a:lnTo>
                    <a:pt x="1391" y="331"/>
                  </a:lnTo>
                  <a:lnTo>
                    <a:pt x="1400" y="321"/>
                  </a:lnTo>
                  <a:lnTo>
                    <a:pt x="1409" y="312"/>
                  </a:lnTo>
                  <a:lnTo>
                    <a:pt x="1418" y="303"/>
                  </a:lnTo>
                  <a:lnTo>
                    <a:pt x="1422" y="299"/>
                  </a:lnTo>
                  <a:lnTo>
                    <a:pt x="1428" y="295"/>
                  </a:lnTo>
                  <a:lnTo>
                    <a:pt x="1438" y="288"/>
                  </a:lnTo>
                  <a:lnTo>
                    <a:pt x="1449" y="281"/>
                  </a:lnTo>
                  <a:lnTo>
                    <a:pt x="1460" y="275"/>
                  </a:lnTo>
                  <a:lnTo>
                    <a:pt x="1472" y="270"/>
                  </a:lnTo>
                  <a:lnTo>
                    <a:pt x="1483" y="265"/>
                  </a:lnTo>
                  <a:lnTo>
                    <a:pt x="1496" y="262"/>
                  </a:lnTo>
                  <a:lnTo>
                    <a:pt x="1509" y="260"/>
                  </a:lnTo>
                  <a:lnTo>
                    <a:pt x="1522" y="258"/>
                  </a:lnTo>
                  <a:lnTo>
                    <a:pt x="1535" y="256"/>
                  </a:lnTo>
                  <a:lnTo>
                    <a:pt x="1550" y="255"/>
                  </a:lnTo>
                  <a:lnTo>
                    <a:pt x="1571" y="256"/>
                  </a:lnTo>
                  <a:lnTo>
                    <a:pt x="1582" y="258"/>
                  </a:lnTo>
                  <a:lnTo>
                    <a:pt x="1592" y="259"/>
                  </a:lnTo>
                  <a:lnTo>
                    <a:pt x="1602" y="261"/>
                  </a:lnTo>
                  <a:lnTo>
                    <a:pt x="1612" y="263"/>
                  </a:lnTo>
                  <a:lnTo>
                    <a:pt x="1621" y="265"/>
                  </a:lnTo>
                  <a:lnTo>
                    <a:pt x="1630" y="269"/>
                  </a:lnTo>
                  <a:lnTo>
                    <a:pt x="1640" y="272"/>
                  </a:lnTo>
                  <a:lnTo>
                    <a:pt x="1647" y="276"/>
                  </a:lnTo>
                  <a:lnTo>
                    <a:pt x="1656" y="281"/>
                  </a:lnTo>
                  <a:lnTo>
                    <a:pt x="1664" y="285"/>
                  </a:lnTo>
                  <a:lnTo>
                    <a:pt x="1672" y="291"/>
                  </a:lnTo>
                  <a:lnTo>
                    <a:pt x="1680" y="296"/>
                  </a:lnTo>
                  <a:lnTo>
                    <a:pt x="1686" y="302"/>
                  </a:lnTo>
                  <a:lnTo>
                    <a:pt x="1693" y="309"/>
                  </a:lnTo>
                  <a:lnTo>
                    <a:pt x="1700" y="315"/>
                  </a:lnTo>
                  <a:lnTo>
                    <a:pt x="1706" y="323"/>
                  </a:lnTo>
                  <a:lnTo>
                    <a:pt x="1712" y="331"/>
                  </a:lnTo>
                  <a:lnTo>
                    <a:pt x="1717" y="339"/>
                  </a:lnTo>
                  <a:lnTo>
                    <a:pt x="1722" y="348"/>
                  </a:lnTo>
                  <a:lnTo>
                    <a:pt x="1726" y="358"/>
                  </a:lnTo>
                  <a:lnTo>
                    <a:pt x="1731" y="366"/>
                  </a:lnTo>
                  <a:lnTo>
                    <a:pt x="1735" y="376"/>
                  </a:lnTo>
                  <a:lnTo>
                    <a:pt x="1739" y="388"/>
                  </a:lnTo>
                  <a:lnTo>
                    <a:pt x="1741" y="399"/>
                  </a:lnTo>
                  <a:lnTo>
                    <a:pt x="1744" y="410"/>
                  </a:lnTo>
                  <a:lnTo>
                    <a:pt x="1745" y="422"/>
                  </a:lnTo>
                  <a:lnTo>
                    <a:pt x="1747" y="434"/>
                  </a:lnTo>
                  <a:lnTo>
                    <a:pt x="1749" y="448"/>
                  </a:lnTo>
                  <a:lnTo>
                    <a:pt x="1750" y="461"/>
                  </a:lnTo>
                  <a:lnTo>
                    <a:pt x="1750" y="475"/>
                  </a:lnTo>
                  <a:close/>
                  <a:moveTo>
                    <a:pt x="2235" y="418"/>
                  </a:moveTo>
                  <a:lnTo>
                    <a:pt x="2235" y="577"/>
                  </a:lnTo>
                  <a:lnTo>
                    <a:pt x="2236" y="594"/>
                  </a:lnTo>
                  <a:lnTo>
                    <a:pt x="2238" y="609"/>
                  </a:lnTo>
                  <a:lnTo>
                    <a:pt x="2240" y="614"/>
                  </a:lnTo>
                  <a:lnTo>
                    <a:pt x="2242" y="620"/>
                  </a:lnTo>
                  <a:lnTo>
                    <a:pt x="2244" y="624"/>
                  </a:lnTo>
                  <a:lnTo>
                    <a:pt x="2247" y="629"/>
                  </a:lnTo>
                  <a:lnTo>
                    <a:pt x="2251" y="632"/>
                  </a:lnTo>
                  <a:lnTo>
                    <a:pt x="2255" y="635"/>
                  </a:lnTo>
                  <a:lnTo>
                    <a:pt x="2260" y="637"/>
                  </a:lnTo>
                  <a:lnTo>
                    <a:pt x="2265" y="640"/>
                  </a:lnTo>
                  <a:lnTo>
                    <a:pt x="2271" y="641"/>
                  </a:lnTo>
                  <a:lnTo>
                    <a:pt x="2277" y="642"/>
                  </a:lnTo>
                  <a:lnTo>
                    <a:pt x="2285" y="643"/>
                  </a:lnTo>
                  <a:lnTo>
                    <a:pt x="2293" y="643"/>
                  </a:lnTo>
                  <a:lnTo>
                    <a:pt x="2313" y="643"/>
                  </a:lnTo>
                  <a:lnTo>
                    <a:pt x="2313" y="804"/>
                  </a:lnTo>
                  <a:lnTo>
                    <a:pt x="2240" y="804"/>
                  </a:lnTo>
                  <a:lnTo>
                    <a:pt x="2221" y="803"/>
                  </a:lnTo>
                  <a:lnTo>
                    <a:pt x="2211" y="803"/>
                  </a:lnTo>
                  <a:lnTo>
                    <a:pt x="2202" y="802"/>
                  </a:lnTo>
                  <a:lnTo>
                    <a:pt x="2184" y="799"/>
                  </a:lnTo>
                  <a:lnTo>
                    <a:pt x="2166" y="794"/>
                  </a:lnTo>
                  <a:lnTo>
                    <a:pt x="2158" y="791"/>
                  </a:lnTo>
                  <a:lnTo>
                    <a:pt x="2151" y="787"/>
                  </a:lnTo>
                  <a:lnTo>
                    <a:pt x="2143" y="784"/>
                  </a:lnTo>
                  <a:lnTo>
                    <a:pt x="2136" y="781"/>
                  </a:lnTo>
                  <a:lnTo>
                    <a:pt x="2130" y="776"/>
                  </a:lnTo>
                  <a:lnTo>
                    <a:pt x="2123" y="772"/>
                  </a:lnTo>
                  <a:lnTo>
                    <a:pt x="2116" y="767"/>
                  </a:lnTo>
                  <a:lnTo>
                    <a:pt x="2111" y="762"/>
                  </a:lnTo>
                  <a:lnTo>
                    <a:pt x="2105" y="756"/>
                  </a:lnTo>
                  <a:lnTo>
                    <a:pt x="2100" y="751"/>
                  </a:lnTo>
                  <a:lnTo>
                    <a:pt x="2090" y="737"/>
                  </a:lnTo>
                  <a:lnTo>
                    <a:pt x="2085" y="730"/>
                  </a:lnTo>
                  <a:lnTo>
                    <a:pt x="2082" y="723"/>
                  </a:lnTo>
                  <a:lnTo>
                    <a:pt x="2075" y="706"/>
                  </a:lnTo>
                  <a:lnTo>
                    <a:pt x="2070" y="689"/>
                  </a:lnTo>
                  <a:lnTo>
                    <a:pt x="2067" y="679"/>
                  </a:lnTo>
                  <a:lnTo>
                    <a:pt x="2065" y="669"/>
                  </a:lnTo>
                  <a:lnTo>
                    <a:pt x="2064" y="659"/>
                  </a:lnTo>
                  <a:lnTo>
                    <a:pt x="2063" y="647"/>
                  </a:lnTo>
                  <a:lnTo>
                    <a:pt x="2062" y="636"/>
                  </a:lnTo>
                  <a:lnTo>
                    <a:pt x="2062" y="624"/>
                  </a:lnTo>
                  <a:lnTo>
                    <a:pt x="2062" y="418"/>
                  </a:lnTo>
                  <a:lnTo>
                    <a:pt x="1959" y="418"/>
                  </a:lnTo>
                  <a:lnTo>
                    <a:pt x="1959" y="273"/>
                  </a:lnTo>
                  <a:lnTo>
                    <a:pt x="2062" y="273"/>
                  </a:lnTo>
                  <a:lnTo>
                    <a:pt x="2062" y="60"/>
                  </a:lnTo>
                  <a:lnTo>
                    <a:pt x="2235" y="60"/>
                  </a:lnTo>
                  <a:lnTo>
                    <a:pt x="2235" y="273"/>
                  </a:lnTo>
                  <a:lnTo>
                    <a:pt x="2345" y="273"/>
                  </a:lnTo>
                  <a:lnTo>
                    <a:pt x="2345" y="418"/>
                  </a:lnTo>
                  <a:lnTo>
                    <a:pt x="2235" y="418"/>
                  </a:lnTo>
                  <a:close/>
                  <a:moveTo>
                    <a:pt x="2556" y="343"/>
                  </a:moveTo>
                  <a:lnTo>
                    <a:pt x="2558" y="343"/>
                  </a:lnTo>
                  <a:lnTo>
                    <a:pt x="2565" y="333"/>
                  </a:lnTo>
                  <a:lnTo>
                    <a:pt x="2573" y="323"/>
                  </a:lnTo>
                  <a:lnTo>
                    <a:pt x="2581" y="314"/>
                  </a:lnTo>
                  <a:lnTo>
                    <a:pt x="2585" y="310"/>
                  </a:lnTo>
                  <a:lnTo>
                    <a:pt x="2589" y="305"/>
                  </a:lnTo>
                  <a:lnTo>
                    <a:pt x="2598" y="298"/>
                  </a:lnTo>
                  <a:lnTo>
                    <a:pt x="2608" y="291"/>
                  </a:lnTo>
                  <a:lnTo>
                    <a:pt x="2618" y="284"/>
                  </a:lnTo>
                  <a:lnTo>
                    <a:pt x="2628" y="279"/>
                  </a:lnTo>
                  <a:lnTo>
                    <a:pt x="2639" y="273"/>
                  </a:lnTo>
                  <a:lnTo>
                    <a:pt x="2651" y="269"/>
                  </a:lnTo>
                  <a:lnTo>
                    <a:pt x="2663" y="264"/>
                  </a:lnTo>
                  <a:lnTo>
                    <a:pt x="2675" y="261"/>
                  </a:lnTo>
                  <a:lnTo>
                    <a:pt x="2687" y="259"/>
                  </a:lnTo>
                  <a:lnTo>
                    <a:pt x="2694" y="258"/>
                  </a:lnTo>
                  <a:lnTo>
                    <a:pt x="2701" y="258"/>
                  </a:lnTo>
                  <a:lnTo>
                    <a:pt x="2714" y="256"/>
                  </a:lnTo>
                  <a:lnTo>
                    <a:pt x="2728" y="255"/>
                  </a:lnTo>
                  <a:lnTo>
                    <a:pt x="2749" y="256"/>
                  </a:lnTo>
                  <a:lnTo>
                    <a:pt x="2760" y="258"/>
                  </a:lnTo>
                  <a:lnTo>
                    <a:pt x="2770" y="259"/>
                  </a:lnTo>
                  <a:lnTo>
                    <a:pt x="2780" y="261"/>
                  </a:lnTo>
                  <a:lnTo>
                    <a:pt x="2790" y="263"/>
                  </a:lnTo>
                  <a:lnTo>
                    <a:pt x="2799" y="265"/>
                  </a:lnTo>
                  <a:lnTo>
                    <a:pt x="2809" y="269"/>
                  </a:lnTo>
                  <a:lnTo>
                    <a:pt x="2818" y="272"/>
                  </a:lnTo>
                  <a:lnTo>
                    <a:pt x="2826" y="276"/>
                  </a:lnTo>
                  <a:lnTo>
                    <a:pt x="2835" y="281"/>
                  </a:lnTo>
                  <a:lnTo>
                    <a:pt x="2843" y="285"/>
                  </a:lnTo>
                  <a:lnTo>
                    <a:pt x="2850" y="291"/>
                  </a:lnTo>
                  <a:lnTo>
                    <a:pt x="2858" y="296"/>
                  </a:lnTo>
                  <a:lnTo>
                    <a:pt x="2865" y="302"/>
                  </a:lnTo>
                  <a:lnTo>
                    <a:pt x="2872" y="309"/>
                  </a:lnTo>
                  <a:lnTo>
                    <a:pt x="2878" y="315"/>
                  </a:lnTo>
                  <a:lnTo>
                    <a:pt x="2885" y="323"/>
                  </a:lnTo>
                  <a:lnTo>
                    <a:pt x="2890" y="331"/>
                  </a:lnTo>
                  <a:lnTo>
                    <a:pt x="2896" y="339"/>
                  </a:lnTo>
                  <a:lnTo>
                    <a:pt x="2900" y="348"/>
                  </a:lnTo>
                  <a:lnTo>
                    <a:pt x="2905" y="358"/>
                  </a:lnTo>
                  <a:lnTo>
                    <a:pt x="2909" y="366"/>
                  </a:lnTo>
                  <a:lnTo>
                    <a:pt x="2914" y="376"/>
                  </a:lnTo>
                  <a:lnTo>
                    <a:pt x="2917" y="388"/>
                  </a:lnTo>
                  <a:lnTo>
                    <a:pt x="2919" y="399"/>
                  </a:lnTo>
                  <a:lnTo>
                    <a:pt x="2923" y="410"/>
                  </a:lnTo>
                  <a:lnTo>
                    <a:pt x="2925" y="422"/>
                  </a:lnTo>
                  <a:lnTo>
                    <a:pt x="2926" y="434"/>
                  </a:lnTo>
                  <a:lnTo>
                    <a:pt x="2927" y="448"/>
                  </a:lnTo>
                  <a:lnTo>
                    <a:pt x="2928" y="461"/>
                  </a:lnTo>
                  <a:lnTo>
                    <a:pt x="2928" y="475"/>
                  </a:lnTo>
                  <a:lnTo>
                    <a:pt x="2928" y="804"/>
                  </a:lnTo>
                  <a:lnTo>
                    <a:pt x="2755" y="804"/>
                  </a:lnTo>
                  <a:lnTo>
                    <a:pt x="2755" y="523"/>
                  </a:lnTo>
                  <a:lnTo>
                    <a:pt x="2754" y="509"/>
                  </a:lnTo>
                  <a:lnTo>
                    <a:pt x="2753" y="495"/>
                  </a:lnTo>
                  <a:lnTo>
                    <a:pt x="2752" y="483"/>
                  </a:lnTo>
                  <a:lnTo>
                    <a:pt x="2748" y="472"/>
                  </a:lnTo>
                  <a:lnTo>
                    <a:pt x="2745" y="462"/>
                  </a:lnTo>
                  <a:lnTo>
                    <a:pt x="2741" y="452"/>
                  </a:lnTo>
                  <a:lnTo>
                    <a:pt x="2738" y="448"/>
                  </a:lnTo>
                  <a:lnTo>
                    <a:pt x="2736" y="444"/>
                  </a:lnTo>
                  <a:lnTo>
                    <a:pt x="2733" y="440"/>
                  </a:lnTo>
                  <a:lnTo>
                    <a:pt x="2731" y="436"/>
                  </a:lnTo>
                  <a:lnTo>
                    <a:pt x="2724" y="430"/>
                  </a:lnTo>
                  <a:lnTo>
                    <a:pt x="2716" y="424"/>
                  </a:lnTo>
                  <a:lnTo>
                    <a:pt x="2708" y="420"/>
                  </a:lnTo>
                  <a:lnTo>
                    <a:pt x="2699" y="415"/>
                  </a:lnTo>
                  <a:lnTo>
                    <a:pt x="2691" y="412"/>
                  </a:lnTo>
                  <a:lnTo>
                    <a:pt x="2681" y="410"/>
                  </a:lnTo>
                  <a:lnTo>
                    <a:pt x="2669" y="409"/>
                  </a:lnTo>
                  <a:lnTo>
                    <a:pt x="2658" y="409"/>
                  </a:lnTo>
                  <a:lnTo>
                    <a:pt x="2647" y="409"/>
                  </a:lnTo>
                  <a:lnTo>
                    <a:pt x="2642" y="410"/>
                  </a:lnTo>
                  <a:lnTo>
                    <a:pt x="2637" y="410"/>
                  </a:lnTo>
                  <a:lnTo>
                    <a:pt x="2627" y="412"/>
                  </a:lnTo>
                  <a:lnTo>
                    <a:pt x="2617" y="415"/>
                  </a:lnTo>
                  <a:lnTo>
                    <a:pt x="2608" y="420"/>
                  </a:lnTo>
                  <a:lnTo>
                    <a:pt x="2604" y="422"/>
                  </a:lnTo>
                  <a:lnTo>
                    <a:pt x="2599" y="424"/>
                  </a:lnTo>
                  <a:lnTo>
                    <a:pt x="2592" y="431"/>
                  </a:lnTo>
                  <a:lnTo>
                    <a:pt x="2588" y="434"/>
                  </a:lnTo>
                  <a:lnTo>
                    <a:pt x="2585" y="438"/>
                  </a:lnTo>
                  <a:lnTo>
                    <a:pt x="2582" y="442"/>
                  </a:lnTo>
                  <a:lnTo>
                    <a:pt x="2578" y="445"/>
                  </a:lnTo>
                  <a:lnTo>
                    <a:pt x="2573" y="455"/>
                  </a:lnTo>
                  <a:lnTo>
                    <a:pt x="2567" y="465"/>
                  </a:lnTo>
                  <a:lnTo>
                    <a:pt x="2566" y="471"/>
                  </a:lnTo>
                  <a:lnTo>
                    <a:pt x="2564" y="478"/>
                  </a:lnTo>
                  <a:lnTo>
                    <a:pt x="2562" y="484"/>
                  </a:lnTo>
                  <a:lnTo>
                    <a:pt x="2561" y="491"/>
                  </a:lnTo>
                  <a:lnTo>
                    <a:pt x="2558" y="504"/>
                  </a:lnTo>
                  <a:lnTo>
                    <a:pt x="2556" y="520"/>
                  </a:lnTo>
                  <a:lnTo>
                    <a:pt x="2556" y="537"/>
                  </a:lnTo>
                  <a:lnTo>
                    <a:pt x="2556" y="804"/>
                  </a:lnTo>
                  <a:lnTo>
                    <a:pt x="2383" y="804"/>
                  </a:lnTo>
                  <a:lnTo>
                    <a:pt x="2383" y="0"/>
                  </a:lnTo>
                  <a:lnTo>
                    <a:pt x="2556" y="0"/>
                  </a:lnTo>
                  <a:lnTo>
                    <a:pt x="2556" y="343"/>
                  </a:lnTo>
                  <a:close/>
                  <a:moveTo>
                    <a:pt x="3506" y="541"/>
                  </a:moveTo>
                  <a:lnTo>
                    <a:pt x="3506" y="580"/>
                  </a:lnTo>
                  <a:lnTo>
                    <a:pt x="3125" y="580"/>
                  </a:lnTo>
                  <a:lnTo>
                    <a:pt x="3128" y="592"/>
                  </a:lnTo>
                  <a:lnTo>
                    <a:pt x="3131" y="603"/>
                  </a:lnTo>
                  <a:lnTo>
                    <a:pt x="3136" y="613"/>
                  </a:lnTo>
                  <a:lnTo>
                    <a:pt x="3141" y="623"/>
                  </a:lnTo>
                  <a:lnTo>
                    <a:pt x="3147" y="632"/>
                  </a:lnTo>
                  <a:lnTo>
                    <a:pt x="3155" y="640"/>
                  </a:lnTo>
                  <a:lnTo>
                    <a:pt x="3163" y="646"/>
                  </a:lnTo>
                  <a:lnTo>
                    <a:pt x="3170" y="653"/>
                  </a:lnTo>
                  <a:lnTo>
                    <a:pt x="3180" y="659"/>
                  </a:lnTo>
                  <a:lnTo>
                    <a:pt x="3189" y="663"/>
                  </a:lnTo>
                  <a:lnTo>
                    <a:pt x="3200" y="667"/>
                  </a:lnTo>
                  <a:lnTo>
                    <a:pt x="3211" y="671"/>
                  </a:lnTo>
                  <a:lnTo>
                    <a:pt x="3223" y="673"/>
                  </a:lnTo>
                  <a:lnTo>
                    <a:pt x="3229" y="674"/>
                  </a:lnTo>
                  <a:lnTo>
                    <a:pt x="3235" y="675"/>
                  </a:lnTo>
                  <a:lnTo>
                    <a:pt x="3248" y="676"/>
                  </a:lnTo>
                  <a:lnTo>
                    <a:pt x="3260" y="676"/>
                  </a:lnTo>
                  <a:lnTo>
                    <a:pt x="3273" y="676"/>
                  </a:lnTo>
                  <a:lnTo>
                    <a:pt x="3285" y="675"/>
                  </a:lnTo>
                  <a:lnTo>
                    <a:pt x="3296" y="674"/>
                  </a:lnTo>
                  <a:lnTo>
                    <a:pt x="3307" y="672"/>
                  </a:lnTo>
                  <a:lnTo>
                    <a:pt x="3318" y="670"/>
                  </a:lnTo>
                  <a:lnTo>
                    <a:pt x="3329" y="666"/>
                  </a:lnTo>
                  <a:lnTo>
                    <a:pt x="3349" y="661"/>
                  </a:lnTo>
                  <a:lnTo>
                    <a:pt x="3359" y="656"/>
                  </a:lnTo>
                  <a:lnTo>
                    <a:pt x="3368" y="653"/>
                  </a:lnTo>
                  <a:lnTo>
                    <a:pt x="3377" y="649"/>
                  </a:lnTo>
                  <a:lnTo>
                    <a:pt x="3386" y="645"/>
                  </a:lnTo>
                  <a:lnTo>
                    <a:pt x="3401" y="636"/>
                  </a:lnTo>
                  <a:lnTo>
                    <a:pt x="3415" y="627"/>
                  </a:lnTo>
                  <a:lnTo>
                    <a:pt x="3478" y="759"/>
                  </a:lnTo>
                  <a:lnTo>
                    <a:pt x="3467" y="765"/>
                  </a:lnTo>
                  <a:lnTo>
                    <a:pt x="3456" y="772"/>
                  </a:lnTo>
                  <a:lnTo>
                    <a:pt x="3445" y="777"/>
                  </a:lnTo>
                  <a:lnTo>
                    <a:pt x="3433" y="783"/>
                  </a:lnTo>
                  <a:lnTo>
                    <a:pt x="3408" y="794"/>
                  </a:lnTo>
                  <a:lnTo>
                    <a:pt x="3395" y="799"/>
                  </a:lnTo>
                  <a:lnTo>
                    <a:pt x="3381" y="803"/>
                  </a:lnTo>
                  <a:lnTo>
                    <a:pt x="3367" y="807"/>
                  </a:lnTo>
                  <a:lnTo>
                    <a:pt x="3353" y="811"/>
                  </a:lnTo>
                  <a:lnTo>
                    <a:pt x="3338" y="814"/>
                  </a:lnTo>
                  <a:lnTo>
                    <a:pt x="3324" y="816"/>
                  </a:lnTo>
                  <a:lnTo>
                    <a:pt x="3308" y="819"/>
                  </a:lnTo>
                  <a:lnTo>
                    <a:pt x="3291" y="820"/>
                  </a:lnTo>
                  <a:lnTo>
                    <a:pt x="3276" y="821"/>
                  </a:lnTo>
                  <a:lnTo>
                    <a:pt x="3258" y="821"/>
                  </a:lnTo>
                  <a:lnTo>
                    <a:pt x="3243" y="821"/>
                  </a:lnTo>
                  <a:lnTo>
                    <a:pt x="3226" y="820"/>
                  </a:lnTo>
                  <a:lnTo>
                    <a:pt x="3210" y="819"/>
                  </a:lnTo>
                  <a:lnTo>
                    <a:pt x="3195" y="816"/>
                  </a:lnTo>
                  <a:lnTo>
                    <a:pt x="3179" y="813"/>
                  </a:lnTo>
                  <a:lnTo>
                    <a:pt x="3165" y="810"/>
                  </a:lnTo>
                  <a:lnTo>
                    <a:pt x="3150" y="805"/>
                  </a:lnTo>
                  <a:lnTo>
                    <a:pt x="3137" y="801"/>
                  </a:lnTo>
                  <a:lnTo>
                    <a:pt x="3124" y="796"/>
                  </a:lnTo>
                  <a:lnTo>
                    <a:pt x="3110" y="790"/>
                  </a:lnTo>
                  <a:lnTo>
                    <a:pt x="3098" y="784"/>
                  </a:lnTo>
                  <a:lnTo>
                    <a:pt x="3087" y="777"/>
                  </a:lnTo>
                  <a:lnTo>
                    <a:pt x="3080" y="773"/>
                  </a:lnTo>
                  <a:lnTo>
                    <a:pt x="3075" y="770"/>
                  </a:lnTo>
                  <a:lnTo>
                    <a:pt x="3064" y="762"/>
                  </a:lnTo>
                  <a:lnTo>
                    <a:pt x="3054" y="753"/>
                  </a:lnTo>
                  <a:lnTo>
                    <a:pt x="3044" y="744"/>
                  </a:lnTo>
                  <a:lnTo>
                    <a:pt x="3034" y="735"/>
                  </a:lnTo>
                  <a:lnTo>
                    <a:pt x="3025" y="725"/>
                  </a:lnTo>
                  <a:lnTo>
                    <a:pt x="3017" y="714"/>
                  </a:lnTo>
                  <a:lnTo>
                    <a:pt x="3009" y="704"/>
                  </a:lnTo>
                  <a:lnTo>
                    <a:pt x="3002" y="692"/>
                  </a:lnTo>
                  <a:lnTo>
                    <a:pt x="2995" y="681"/>
                  </a:lnTo>
                  <a:lnTo>
                    <a:pt x="2989" y="669"/>
                  </a:lnTo>
                  <a:lnTo>
                    <a:pt x="2984" y="655"/>
                  </a:lnTo>
                  <a:lnTo>
                    <a:pt x="2978" y="643"/>
                  </a:lnTo>
                  <a:lnTo>
                    <a:pt x="2974" y="630"/>
                  </a:lnTo>
                  <a:lnTo>
                    <a:pt x="2970" y="615"/>
                  </a:lnTo>
                  <a:lnTo>
                    <a:pt x="2967" y="601"/>
                  </a:lnTo>
                  <a:lnTo>
                    <a:pt x="2965" y="586"/>
                  </a:lnTo>
                  <a:lnTo>
                    <a:pt x="2964" y="572"/>
                  </a:lnTo>
                  <a:lnTo>
                    <a:pt x="2963" y="556"/>
                  </a:lnTo>
                  <a:lnTo>
                    <a:pt x="2963" y="541"/>
                  </a:lnTo>
                  <a:lnTo>
                    <a:pt x="2963" y="524"/>
                  </a:lnTo>
                  <a:lnTo>
                    <a:pt x="2964" y="508"/>
                  </a:lnTo>
                  <a:lnTo>
                    <a:pt x="2965" y="492"/>
                  </a:lnTo>
                  <a:lnTo>
                    <a:pt x="2967" y="478"/>
                  </a:lnTo>
                  <a:lnTo>
                    <a:pt x="2970" y="462"/>
                  </a:lnTo>
                  <a:lnTo>
                    <a:pt x="2974" y="448"/>
                  </a:lnTo>
                  <a:lnTo>
                    <a:pt x="2978" y="434"/>
                  </a:lnTo>
                  <a:lnTo>
                    <a:pt x="2983" y="421"/>
                  </a:lnTo>
                  <a:lnTo>
                    <a:pt x="2988" y="408"/>
                  </a:lnTo>
                  <a:lnTo>
                    <a:pt x="2994" y="395"/>
                  </a:lnTo>
                  <a:lnTo>
                    <a:pt x="3000" y="383"/>
                  </a:lnTo>
                  <a:lnTo>
                    <a:pt x="3008" y="372"/>
                  </a:lnTo>
                  <a:lnTo>
                    <a:pt x="3015" y="361"/>
                  </a:lnTo>
                  <a:lnTo>
                    <a:pt x="3024" y="351"/>
                  </a:lnTo>
                  <a:lnTo>
                    <a:pt x="3032" y="341"/>
                  </a:lnTo>
                  <a:lnTo>
                    <a:pt x="3042" y="332"/>
                  </a:lnTo>
                  <a:lnTo>
                    <a:pt x="3050" y="323"/>
                  </a:lnTo>
                  <a:lnTo>
                    <a:pt x="3060" y="314"/>
                  </a:lnTo>
                  <a:lnTo>
                    <a:pt x="3072" y="306"/>
                  </a:lnTo>
                  <a:lnTo>
                    <a:pt x="3083" y="300"/>
                  </a:lnTo>
                  <a:lnTo>
                    <a:pt x="3094" y="293"/>
                  </a:lnTo>
                  <a:lnTo>
                    <a:pt x="3105" y="286"/>
                  </a:lnTo>
                  <a:lnTo>
                    <a:pt x="3117" y="281"/>
                  </a:lnTo>
                  <a:lnTo>
                    <a:pt x="3130" y="276"/>
                  </a:lnTo>
                  <a:lnTo>
                    <a:pt x="3143" y="272"/>
                  </a:lnTo>
                  <a:lnTo>
                    <a:pt x="3156" y="268"/>
                  </a:lnTo>
                  <a:lnTo>
                    <a:pt x="3169" y="264"/>
                  </a:lnTo>
                  <a:lnTo>
                    <a:pt x="3184" y="262"/>
                  </a:lnTo>
                  <a:lnTo>
                    <a:pt x="3198" y="260"/>
                  </a:lnTo>
                  <a:lnTo>
                    <a:pt x="3213" y="258"/>
                  </a:lnTo>
                  <a:lnTo>
                    <a:pt x="3227" y="258"/>
                  </a:lnTo>
                  <a:lnTo>
                    <a:pt x="3243" y="256"/>
                  </a:lnTo>
                  <a:lnTo>
                    <a:pt x="3257" y="258"/>
                  </a:lnTo>
                  <a:lnTo>
                    <a:pt x="3271" y="258"/>
                  </a:lnTo>
                  <a:lnTo>
                    <a:pt x="3286" y="260"/>
                  </a:lnTo>
                  <a:lnTo>
                    <a:pt x="3299" y="261"/>
                  </a:lnTo>
                  <a:lnTo>
                    <a:pt x="3313" y="263"/>
                  </a:lnTo>
                  <a:lnTo>
                    <a:pt x="3326" y="266"/>
                  </a:lnTo>
                  <a:lnTo>
                    <a:pt x="3339" y="270"/>
                  </a:lnTo>
                  <a:lnTo>
                    <a:pt x="3345" y="272"/>
                  </a:lnTo>
                  <a:lnTo>
                    <a:pt x="3351" y="274"/>
                  </a:lnTo>
                  <a:lnTo>
                    <a:pt x="3363" y="279"/>
                  </a:lnTo>
                  <a:lnTo>
                    <a:pt x="3375" y="284"/>
                  </a:lnTo>
                  <a:lnTo>
                    <a:pt x="3386" y="290"/>
                  </a:lnTo>
                  <a:lnTo>
                    <a:pt x="3396" y="296"/>
                  </a:lnTo>
                  <a:lnTo>
                    <a:pt x="3406" y="303"/>
                  </a:lnTo>
                  <a:lnTo>
                    <a:pt x="3411" y="306"/>
                  </a:lnTo>
                  <a:lnTo>
                    <a:pt x="3416" y="311"/>
                  </a:lnTo>
                  <a:lnTo>
                    <a:pt x="3425" y="319"/>
                  </a:lnTo>
                  <a:lnTo>
                    <a:pt x="3434" y="326"/>
                  </a:lnTo>
                  <a:lnTo>
                    <a:pt x="3443" y="336"/>
                  </a:lnTo>
                  <a:lnTo>
                    <a:pt x="3450" y="345"/>
                  </a:lnTo>
                  <a:lnTo>
                    <a:pt x="3458" y="355"/>
                  </a:lnTo>
                  <a:lnTo>
                    <a:pt x="3465" y="366"/>
                  </a:lnTo>
                  <a:lnTo>
                    <a:pt x="3471" y="378"/>
                  </a:lnTo>
                  <a:lnTo>
                    <a:pt x="3477" y="390"/>
                  </a:lnTo>
                  <a:lnTo>
                    <a:pt x="3483" y="402"/>
                  </a:lnTo>
                  <a:lnTo>
                    <a:pt x="3487" y="415"/>
                  </a:lnTo>
                  <a:lnTo>
                    <a:pt x="3489" y="422"/>
                  </a:lnTo>
                  <a:lnTo>
                    <a:pt x="3491" y="429"/>
                  </a:lnTo>
                  <a:lnTo>
                    <a:pt x="3495" y="443"/>
                  </a:lnTo>
                  <a:lnTo>
                    <a:pt x="3498" y="458"/>
                  </a:lnTo>
                  <a:lnTo>
                    <a:pt x="3501" y="473"/>
                  </a:lnTo>
                  <a:lnTo>
                    <a:pt x="3502" y="490"/>
                  </a:lnTo>
                  <a:lnTo>
                    <a:pt x="3505" y="506"/>
                  </a:lnTo>
                  <a:lnTo>
                    <a:pt x="3506" y="523"/>
                  </a:lnTo>
                  <a:lnTo>
                    <a:pt x="3506" y="541"/>
                  </a:lnTo>
                  <a:close/>
                  <a:moveTo>
                    <a:pt x="3126" y="478"/>
                  </a:moveTo>
                  <a:lnTo>
                    <a:pt x="3338" y="478"/>
                  </a:lnTo>
                  <a:lnTo>
                    <a:pt x="3337" y="466"/>
                  </a:lnTo>
                  <a:lnTo>
                    <a:pt x="3335" y="455"/>
                  </a:lnTo>
                  <a:lnTo>
                    <a:pt x="3333" y="445"/>
                  </a:lnTo>
                  <a:lnTo>
                    <a:pt x="3329" y="436"/>
                  </a:lnTo>
                  <a:lnTo>
                    <a:pt x="3325" y="428"/>
                  </a:lnTo>
                  <a:lnTo>
                    <a:pt x="3319" y="420"/>
                  </a:lnTo>
                  <a:lnTo>
                    <a:pt x="3317" y="415"/>
                  </a:lnTo>
                  <a:lnTo>
                    <a:pt x="3314" y="412"/>
                  </a:lnTo>
                  <a:lnTo>
                    <a:pt x="3308" y="405"/>
                  </a:lnTo>
                  <a:lnTo>
                    <a:pt x="3300" y="400"/>
                  </a:lnTo>
                  <a:lnTo>
                    <a:pt x="3293" y="394"/>
                  </a:lnTo>
                  <a:lnTo>
                    <a:pt x="3285" y="390"/>
                  </a:lnTo>
                  <a:lnTo>
                    <a:pt x="3276" y="386"/>
                  </a:lnTo>
                  <a:lnTo>
                    <a:pt x="3267" y="383"/>
                  </a:lnTo>
                  <a:lnTo>
                    <a:pt x="3257" y="382"/>
                  </a:lnTo>
                  <a:lnTo>
                    <a:pt x="3247" y="380"/>
                  </a:lnTo>
                  <a:lnTo>
                    <a:pt x="3237" y="380"/>
                  </a:lnTo>
                  <a:lnTo>
                    <a:pt x="3226" y="380"/>
                  </a:lnTo>
                  <a:lnTo>
                    <a:pt x="3216" y="381"/>
                  </a:lnTo>
                  <a:lnTo>
                    <a:pt x="3206" y="383"/>
                  </a:lnTo>
                  <a:lnTo>
                    <a:pt x="3196" y="385"/>
                  </a:lnTo>
                  <a:lnTo>
                    <a:pt x="3187" y="389"/>
                  </a:lnTo>
                  <a:lnTo>
                    <a:pt x="3178" y="393"/>
                  </a:lnTo>
                  <a:lnTo>
                    <a:pt x="3170" y="398"/>
                  </a:lnTo>
                  <a:lnTo>
                    <a:pt x="3163" y="403"/>
                  </a:lnTo>
                  <a:lnTo>
                    <a:pt x="3156" y="409"/>
                  </a:lnTo>
                  <a:lnTo>
                    <a:pt x="3149" y="416"/>
                  </a:lnTo>
                  <a:lnTo>
                    <a:pt x="3144" y="424"/>
                  </a:lnTo>
                  <a:lnTo>
                    <a:pt x="3139" y="433"/>
                  </a:lnTo>
                  <a:lnTo>
                    <a:pt x="3137" y="438"/>
                  </a:lnTo>
                  <a:lnTo>
                    <a:pt x="3135" y="443"/>
                  </a:lnTo>
                  <a:lnTo>
                    <a:pt x="3131" y="453"/>
                  </a:lnTo>
                  <a:lnTo>
                    <a:pt x="3128" y="465"/>
                  </a:lnTo>
                  <a:lnTo>
                    <a:pt x="3126" y="4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23" name="Picture Placeholder 8"/>
          <p:cNvSpPr>
            <a:spLocks noGrp="1"/>
          </p:cNvSpPr>
          <p:nvPr>
            <p:ph type="pic" sz="quarter" idx="17" hasCustomPrompt="1"/>
          </p:nvPr>
        </p:nvSpPr>
        <p:spPr>
          <a:xfrm>
            <a:off x="0" y="0"/>
            <a:ext cx="12192000" cy="6858000"/>
          </a:xfrm>
          <a:custGeom>
            <a:avLst/>
            <a:gdLst/>
            <a:ahLst/>
            <a:cxnLst/>
            <a:rect l="l" t="t" r="r" b="b"/>
            <a:pathLst>
              <a:path w="12192000" h="6858000">
                <a:moveTo>
                  <a:pt x="10176312" y="5785847"/>
                </a:moveTo>
                <a:lnTo>
                  <a:pt x="10176312" y="5892262"/>
                </a:lnTo>
                <a:lnTo>
                  <a:pt x="10176312" y="5998816"/>
                </a:lnTo>
                <a:lnTo>
                  <a:pt x="10176312" y="6105371"/>
                </a:lnTo>
                <a:lnTo>
                  <a:pt x="10176312" y="6211926"/>
                </a:lnTo>
                <a:lnTo>
                  <a:pt x="10267500" y="6211926"/>
                </a:lnTo>
                <a:lnTo>
                  <a:pt x="10297850" y="6211926"/>
                </a:lnTo>
                <a:lnTo>
                  <a:pt x="10297850" y="6333813"/>
                </a:lnTo>
                <a:lnTo>
                  <a:pt x="10297850" y="6455700"/>
                </a:lnTo>
                <a:lnTo>
                  <a:pt x="10297850" y="6577586"/>
                </a:lnTo>
                <a:lnTo>
                  <a:pt x="10297850" y="6699473"/>
                </a:lnTo>
                <a:lnTo>
                  <a:pt x="10389125" y="6699473"/>
                </a:lnTo>
                <a:lnTo>
                  <a:pt x="10480540" y="6699473"/>
                </a:lnTo>
                <a:lnTo>
                  <a:pt x="10572095" y="6699473"/>
                </a:lnTo>
                <a:lnTo>
                  <a:pt x="10663510" y="6699473"/>
                </a:lnTo>
                <a:lnTo>
                  <a:pt x="10754785" y="6699473"/>
                </a:lnTo>
                <a:lnTo>
                  <a:pt x="10846199" y="6699473"/>
                </a:lnTo>
                <a:lnTo>
                  <a:pt x="10937754" y="6699473"/>
                </a:lnTo>
                <a:lnTo>
                  <a:pt x="11029169" y="6699473"/>
                </a:lnTo>
                <a:lnTo>
                  <a:pt x="11120444" y="6699473"/>
                </a:lnTo>
                <a:lnTo>
                  <a:pt x="11211859" y="6699473"/>
                </a:lnTo>
                <a:lnTo>
                  <a:pt x="11303274" y="6699473"/>
                </a:lnTo>
                <a:lnTo>
                  <a:pt x="11394828" y="6699473"/>
                </a:lnTo>
                <a:lnTo>
                  <a:pt x="11486104" y="6699473"/>
                </a:lnTo>
                <a:lnTo>
                  <a:pt x="11577518" y="6699473"/>
                </a:lnTo>
                <a:lnTo>
                  <a:pt x="11668933" y="6699473"/>
                </a:lnTo>
                <a:lnTo>
                  <a:pt x="11760488" y="6699473"/>
                </a:lnTo>
                <a:lnTo>
                  <a:pt x="11760488" y="6577586"/>
                </a:lnTo>
                <a:lnTo>
                  <a:pt x="11760488" y="6455700"/>
                </a:lnTo>
                <a:lnTo>
                  <a:pt x="11760488" y="6333813"/>
                </a:lnTo>
                <a:lnTo>
                  <a:pt x="11760488" y="6211926"/>
                </a:lnTo>
                <a:lnTo>
                  <a:pt x="11668933" y="6211926"/>
                </a:lnTo>
                <a:lnTo>
                  <a:pt x="11577518" y="6211926"/>
                </a:lnTo>
                <a:lnTo>
                  <a:pt x="11486104" y="6211926"/>
                </a:lnTo>
                <a:lnTo>
                  <a:pt x="11394828" y="6211926"/>
                </a:lnTo>
                <a:lnTo>
                  <a:pt x="11303274" y="6211926"/>
                </a:lnTo>
                <a:lnTo>
                  <a:pt x="11211859" y="6211926"/>
                </a:lnTo>
                <a:lnTo>
                  <a:pt x="11120444" y="6211926"/>
                </a:lnTo>
                <a:lnTo>
                  <a:pt x="11029169" y="6211926"/>
                </a:lnTo>
                <a:lnTo>
                  <a:pt x="10937754" y="6211926"/>
                </a:lnTo>
                <a:lnTo>
                  <a:pt x="10906933" y="6211926"/>
                </a:lnTo>
                <a:lnTo>
                  <a:pt x="10906933" y="6105371"/>
                </a:lnTo>
                <a:lnTo>
                  <a:pt x="10906933" y="5998816"/>
                </a:lnTo>
                <a:lnTo>
                  <a:pt x="10906933" y="5892262"/>
                </a:lnTo>
                <a:lnTo>
                  <a:pt x="10906933" y="5785847"/>
                </a:lnTo>
                <a:lnTo>
                  <a:pt x="10815605" y="5785847"/>
                </a:lnTo>
                <a:lnTo>
                  <a:pt x="10724138" y="5785847"/>
                </a:lnTo>
                <a:lnTo>
                  <a:pt x="10632810" y="5785847"/>
                </a:lnTo>
                <a:lnTo>
                  <a:pt x="10541622" y="5785847"/>
                </a:lnTo>
                <a:lnTo>
                  <a:pt x="10450295" y="5785847"/>
                </a:lnTo>
                <a:lnTo>
                  <a:pt x="10358828" y="5785847"/>
                </a:lnTo>
                <a:lnTo>
                  <a:pt x="10267500" y="5785847"/>
                </a:lnTo>
                <a:close/>
                <a:moveTo>
                  <a:pt x="0" y="0"/>
                </a:moveTo>
                <a:lnTo>
                  <a:pt x="12192000" y="0"/>
                </a:lnTo>
                <a:lnTo>
                  <a:pt x="12192000" y="6858000"/>
                </a:lnTo>
                <a:lnTo>
                  <a:pt x="0" y="6858000"/>
                </a:lnTo>
                <a:close/>
              </a:path>
            </a:pathLst>
          </a:custGeom>
          <a:blipFill>
            <a:blip r:embed="rId2"/>
            <a:stretch>
              <a:fillRect/>
            </a:stretch>
          </a:blipFill>
        </p:spPr>
        <p:txBody>
          <a:bodyPr>
            <a:normAutofit/>
          </a:bodyPr>
          <a:lstStyle>
            <a:lvl1pPr marL="0" indent="0" algn="r">
              <a:buFontTx/>
              <a:buNone/>
              <a:defRPr sz="1200"/>
            </a:lvl1pPr>
          </a:lstStyle>
          <a:p>
            <a:r>
              <a:rPr lang="en-US"/>
              <a:t>Click icon to change picture</a:t>
            </a:r>
            <a:endParaRPr lang="en-GB"/>
          </a:p>
        </p:txBody>
      </p:sp>
      <p:sp>
        <p:nvSpPr>
          <p:cNvPr id="2" name="Title 1"/>
          <p:cNvSpPr>
            <a:spLocks noGrp="1"/>
          </p:cNvSpPr>
          <p:nvPr>
            <p:ph type="ctrTitle"/>
          </p:nvPr>
        </p:nvSpPr>
        <p:spPr>
          <a:xfrm>
            <a:off x="550866" y="1926000"/>
            <a:ext cx="9217025" cy="1296000"/>
          </a:xfrm>
        </p:spPr>
        <p:txBody>
          <a:bodyPr anchor="t" anchorCtr="0"/>
          <a:lstStyle>
            <a:lvl1pPr algn="l">
              <a:defRPr sz="5000" b="1">
                <a:solidFill>
                  <a:schemeClr val="accent2"/>
                </a:solidFill>
              </a:defRPr>
            </a:lvl1pPr>
          </a:lstStyle>
          <a:p>
            <a:r>
              <a:rPr lang="nb-NO"/>
              <a:t>Klikk for å redigere tittelstil</a:t>
            </a:r>
            <a:endParaRPr lang="en-US" dirty="0"/>
          </a:p>
        </p:txBody>
      </p:sp>
      <p:sp>
        <p:nvSpPr>
          <p:cNvPr id="3" name="Subtitle 2"/>
          <p:cNvSpPr>
            <a:spLocks noGrp="1"/>
          </p:cNvSpPr>
          <p:nvPr>
            <p:ph type="subTitle" idx="1"/>
          </p:nvPr>
        </p:nvSpPr>
        <p:spPr>
          <a:xfrm>
            <a:off x="550866" y="1404000"/>
            <a:ext cx="9217025" cy="360000"/>
          </a:xfrm>
        </p:spPr>
        <p:txBody>
          <a:bodyPr anchor="b" anchorCtr="0"/>
          <a:lstStyle>
            <a:lvl1pPr marL="0" indent="0" algn="l">
              <a:buNone/>
              <a:defRPr sz="20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US" dirty="0"/>
          </a:p>
        </p:txBody>
      </p:sp>
      <p:sp>
        <p:nvSpPr>
          <p:cNvPr id="4" name="Date Placeholder 3"/>
          <p:cNvSpPr>
            <a:spLocks noGrp="1"/>
          </p:cNvSpPr>
          <p:nvPr>
            <p:ph type="dt" sz="half" idx="10"/>
          </p:nvPr>
        </p:nvSpPr>
        <p:spPr>
          <a:noFill/>
        </p:spPr>
        <p:txBody>
          <a:bodyPr/>
          <a:lstStyle>
            <a:lvl1pPr>
              <a:defRPr>
                <a:noFill/>
              </a:defRPr>
            </a:lvl1pPr>
          </a:lstStyle>
          <a:p>
            <a:fld id="{1007622A-B505-4192-9E07-988546934E8F}" type="datetime1">
              <a:rPr lang="en-US" smtClean="0"/>
              <a:t>5/29/19</a:t>
            </a:fld>
            <a:endParaRPr lang="en-US"/>
          </a:p>
        </p:txBody>
      </p:sp>
      <p:sp>
        <p:nvSpPr>
          <p:cNvPr id="5" name="Footer Placeholder 4"/>
          <p:cNvSpPr>
            <a:spLocks noGrp="1"/>
          </p:cNvSpPr>
          <p:nvPr>
            <p:ph type="ftr" sz="quarter" idx="11"/>
          </p:nvPr>
        </p:nvSpPr>
        <p:spPr>
          <a:noFill/>
        </p:spPr>
        <p:txBody>
          <a:bodyPr/>
          <a:lstStyle>
            <a:lvl1pPr>
              <a:defRPr>
                <a:noFill/>
              </a:defRPr>
            </a:lvl1pPr>
          </a:lstStyle>
          <a:p>
            <a:endParaRPr lang="en-US"/>
          </a:p>
        </p:txBody>
      </p:sp>
      <p:sp>
        <p:nvSpPr>
          <p:cNvPr id="6" name="Slide Number Placeholder 5"/>
          <p:cNvSpPr>
            <a:spLocks noGrp="1"/>
          </p:cNvSpPr>
          <p:nvPr>
            <p:ph type="sldNum" sz="quarter" idx="12"/>
          </p:nvPr>
        </p:nvSpPr>
        <p:spPr>
          <a:noFill/>
        </p:spPr>
        <p:txBody>
          <a:bodyPr/>
          <a:lstStyle>
            <a:lvl1pPr>
              <a:defRPr>
                <a:noFill/>
              </a:defRPr>
            </a:lvl1pPr>
          </a:lstStyle>
          <a:p>
            <a:fld id="{F90E5A77-D385-4CDE-8FE8-D3E3CBE93E71}" type="slidenum">
              <a:rPr lang="en-US" smtClean="0"/>
              <a:pPr/>
              <a:t>‹#›</a:t>
            </a:fld>
            <a:endParaRPr lang="en-US"/>
          </a:p>
        </p:txBody>
      </p:sp>
      <p:sp>
        <p:nvSpPr>
          <p:cNvPr id="12" name="Text Placeholder 11"/>
          <p:cNvSpPr>
            <a:spLocks noGrp="1"/>
          </p:cNvSpPr>
          <p:nvPr>
            <p:ph type="body" sz="quarter" idx="13" hasCustomPrompt="1"/>
          </p:nvPr>
        </p:nvSpPr>
        <p:spPr>
          <a:xfrm>
            <a:off x="550866" y="4653136"/>
            <a:ext cx="9217025" cy="720552"/>
          </a:xfrm>
        </p:spPr>
        <p:txBody>
          <a:bodyPr/>
          <a:lstStyle>
            <a:lvl1pPr marL="0" indent="0">
              <a:buFontTx/>
              <a:buNone/>
              <a:defRPr baseline="0"/>
            </a:lvl1pPr>
          </a:lstStyle>
          <a:p>
            <a:pPr lvl="0"/>
            <a:r>
              <a:rPr lang="en-US" dirty="0"/>
              <a:t>Name / Title / Date</a:t>
            </a:r>
          </a:p>
        </p:txBody>
      </p:sp>
      <p:sp>
        <p:nvSpPr>
          <p:cNvPr id="16" name="Text Placeholder 21"/>
          <p:cNvSpPr>
            <a:spLocks noGrp="1"/>
          </p:cNvSpPr>
          <p:nvPr>
            <p:ph type="body" sz="quarter" idx="15" hasCustomPrompt="1"/>
          </p:nvPr>
        </p:nvSpPr>
        <p:spPr>
          <a:xfrm>
            <a:off x="0" y="-2098"/>
            <a:ext cx="1299600" cy="831600"/>
          </a:xfrm>
          <a:blipFill>
            <a:blip r:embed="rId3" cstate="screen">
              <a:extLst>
                <a:ext uri="{28A0092B-C50C-407E-A947-70E740481C1C}">
                  <a14:useLocalDpi xmlns:a14="http://schemas.microsoft.com/office/drawing/2010/main"/>
                </a:ext>
              </a:extLst>
            </a:blip>
            <a:stretch>
              <a:fillRect/>
            </a:stretch>
          </a:blipFill>
        </p:spPr>
        <p:txBody>
          <a:bodyPr>
            <a:normAutofit/>
          </a:bodyPr>
          <a:lstStyle>
            <a:lvl1pPr marL="0" indent="0">
              <a:buFontTx/>
              <a:buNone/>
              <a:defRPr sz="200">
                <a:noFill/>
              </a:defRPr>
            </a:lvl1pPr>
          </a:lstStyle>
          <a:p>
            <a:pPr lvl="0"/>
            <a:r>
              <a:rPr lang="fi-FI" dirty="0"/>
              <a:t> </a:t>
            </a:r>
          </a:p>
        </p:txBody>
      </p:sp>
    </p:spTree>
    <p:extLst>
      <p:ext uri="{BB962C8B-B14F-4D97-AF65-F5344CB8AC3E}">
        <p14:creationId xmlns:p14="http://schemas.microsoft.com/office/powerpoint/2010/main" val="40108713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_slide_nega_picture">
    <p:spTree>
      <p:nvGrpSpPr>
        <p:cNvPr id="1" name=""/>
        <p:cNvGrpSpPr/>
        <p:nvPr/>
      </p:nvGrpSpPr>
      <p:grpSpPr>
        <a:xfrm>
          <a:off x="0" y="0"/>
          <a:ext cx="0" cy="0"/>
          <a:chOff x="0" y="0"/>
          <a:chExt cx="0" cy="0"/>
        </a:xfrm>
      </p:grpSpPr>
      <p:grpSp>
        <p:nvGrpSpPr>
          <p:cNvPr id="14" name="Group 13"/>
          <p:cNvGrpSpPr>
            <a:grpSpLocks noChangeAspect="1"/>
          </p:cNvGrpSpPr>
          <p:nvPr userDrawn="1"/>
        </p:nvGrpSpPr>
        <p:grpSpPr>
          <a:xfrm>
            <a:off x="10176312" y="5785848"/>
            <a:ext cx="1584176" cy="913626"/>
            <a:chOff x="10176312" y="5785848"/>
            <a:chExt cx="1584176" cy="913626"/>
          </a:xfrm>
        </p:grpSpPr>
        <p:sp>
          <p:nvSpPr>
            <p:cNvPr id="15" name="Freeform 6"/>
            <p:cNvSpPr>
              <a:spLocks/>
            </p:cNvSpPr>
            <p:nvPr userDrawn="1"/>
          </p:nvSpPr>
          <p:spPr bwMode="auto">
            <a:xfrm>
              <a:off x="10297850" y="6211927"/>
              <a:ext cx="1462638" cy="487547"/>
            </a:xfrm>
            <a:custGeom>
              <a:avLst/>
              <a:gdLst>
                <a:gd name="T0" fmla="*/ 0 w 10464"/>
                <a:gd name="T1" fmla="*/ 3488 h 3488"/>
                <a:gd name="T2" fmla="*/ 653 w 10464"/>
                <a:gd name="T3" fmla="*/ 3488 h 3488"/>
                <a:gd name="T4" fmla="*/ 1307 w 10464"/>
                <a:gd name="T5" fmla="*/ 3488 h 3488"/>
                <a:gd name="T6" fmla="*/ 1962 w 10464"/>
                <a:gd name="T7" fmla="*/ 3488 h 3488"/>
                <a:gd name="T8" fmla="*/ 2616 w 10464"/>
                <a:gd name="T9" fmla="*/ 3488 h 3488"/>
                <a:gd name="T10" fmla="*/ 3269 w 10464"/>
                <a:gd name="T11" fmla="*/ 3488 h 3488"/>
                <a:gd name="T12" fmla="*/ 3923 w 10464"/>
                <a:gd name="T13" fmla="*/ 3488 h 3488"/>
                <a:gd name="T14" fmla="*/ 4578 w 10464"/>
                <a:gd name="T15" fmla="*/ 3488 h 3488"/>
                <a:gd name="T16" fmla="*/ 5232 w 10464"/>
                <a:gd name="T17" fmla="*/ 3488 h 3488"/>
                <a:gd name="T18" fmla="*/ 5885 w 10464"/>
                <a:gd name="T19" fmla="*/ 3488 h 3488"/>
                <a:gd name="T20" fmla="*/ 6539 w 10464"/>
                <a:gd name="T21" fmla="*/ 3488 h 3488"/>
                <a:gd name="T22" fmla="*/ 7193 w 10464"/>
                <a:gd name="T23" fmla="*/ 3488 h 3488"/>
                <a:gd name="T24" fmla="*/ 7848 w 10464"/>
                <a:gd name="T25" fmla="*/ 3488 h 3488"/>
                <a:gd name="T26" fmla="*/ 8501 w 10464"/>
                <a:gd name="T27" fmla="*/ 3488 h 3488"/>
                <a:gd name="T28" fmla="*/ 9155 w 10464"/>
                <a:gd name="T29" fmla="*/ 3488 h 3488"/>
                <a:gd name="T30" fmla="*/ 9809 w 10464"/>
                <a:gd name="T31" fmla="*/ 3488 h 3488"/>
                <a:gd name="T32" fmla="*/ 10464 w 10464"/>
                <a:gd name="T33" fmla="*/ 3488 h 3488"/>
                <a:gd name="T34" fmla="*/ 10464 w 10464"/>
                <a:gd name="T35" fmla="*/ 2616 h 3488"/>
                <a:gd name="T36" fmla="*/ 10464 w 10464"/>
                <a:gd name="T37" fmla="*/ 1744 h 3488"/>
                <a:gd name="T38" fmla="*/ 10464 w 10464"/>
                <a:gd name="T39" fmla="*/ 872 h 3488"/>
                <a:gd name="T40" fmla="*/ 10464 w 10464"/>
                <a:gd name="T41" fmla="*/ 0 h 3488"/>
                <a:gd name="T42" fmla="*/ 9809 w 10464"/>
                <a:gd name="T43" fmla="*/ 0 h 3488"/>
                <a:gd name="T44" fmla="*/ 9155 w 10464"/>
                <a:gd name="T45" fmla="*/ 0 h 3488"/>
                <a:gd name="T46" fmla="*/ 8501 w 10464"/>
                <a:gd name="T47" fmla="*/ 0 h 3488"/>
                <a:gd name="T48" fmla="*/ 7848 w 10464"/>
                <a:gd name="T49" fmla="*/ 0 h 3488"/>
                <a:gd name="T50" fmla="*/ 7193 w 10464"/>
                <a:gd name="T51" fmla="*/ 0 h 3488"/>
                <a:gd name="T52" fmla="*/ 6539 w 10464"/>
                <a:gd name="T53" fmla="*/ 0 h 3488"/>
                <a:gd name="T54" fmla="*/ 5885 w 10464"/>
                <a:gd name="T55" fmla="*/ 0 h 3488"/>
                <a:gd name="T56" fmla="*/ 5232 w 10464"/>
                <a:gd name="T57" fmla="*/ 0 h 3488"/>
                <a:gd name="T58" fmla="*/ 4578 w 10464"/>
                <a:gd name="T59" fmla="*/ 0 h 3488"/>
                <a:gd name="T60" fmla="*/ 3923 w 10464"/>
                <a:gd name="T61" fmla="*/ 0 h 3488"/>
                <a:gd name="T62" fmla="*/ 3269 w 10464"/>
                <a:gd name="T63" fmla="*/ 0 h 3488"/>
                <a:gd name="T64" fmla="*/ 2616 w 10464"/>
                <a:gd name="T65" fmla="*/ 0 h 3488"/>
                <a:gd name="T66" fmla="*/ 1962 w 10464"/>
                <a:gd name="T67" fmla="*/ 0 h 3488"/>
                <a:gd name="T68" fmla="*/ 1307 w 10464"/>
                <a:gd name="T69" fmla="*/ 0 h 3488"/>
                <a:gd name="T70" fmla="*/ 653 w 10464"/>
                <a:gd name="T71" fmla="*/ 0 h 3488"/>
                <a:gd name="T72" fmla="*/ 0 w 10464"/>
                <a:gd name="T73" fmla="*/ 0 h 3488"/>
                <a:gd name="T74" fmla="*/ 0 w 10464"/>
                <a:gd name="T75" fmla="*/ 872 h 3488"/>
                <a:gd name="T76" fmla="*/ 0 w 10464"/>
                <a:gd name="T77" fmla="*/ 1744 h 3488"/>
                <a:gd name="T78" fmla="*/ 0 w 10464"/>
                <a:gd name="T79" fmla="*/ 2616 h 3488"/>
                <a:gd name="T80" fmla="*/ 0 w 10464"/>
                <a:gd name="T81" fmla="*/ 3488 h 3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464" h="3488">
                  <a:moveTo>
                    <a:pt x="0" y="3488"/>
                  </a:moveTo>
                  <a:lnTo>
                    <a:pt x="653" y="3488"/>
                  </a:lnTo>
                  <a:lnTo>
                    <a:pt x="1307" y="3488"/>
                  </a:lnTo>
                  <a:lnTo>
                    <a:pt x="1962" y="3488"/>
                  </a:lnTo>
                  <a:lnTo>
                    <a:pt x="2616" y="3488"/>
                  </a:lnTo>
                  <a:lnTo>
                    <a:pt x="3269" y="3488"/>
                  </a:lnTo>
                  <a:lnTo>
                    <a:pt x="3923" y="3488"/>
                  </a:lnTo>
                  <a:lnTo>
                    <a:pt x="4578" y="3488"/>
                  </a:lnTo>
                  <a:lnTo>
                    <a:pt x="5232" y="3488"/>
                  </a:lnTo>
                  <a:lnTo>
                    <a:pt x="5885" y="3488"/>
                  </a:lnTo>
                  <a:lnTo>
                    <a:pt x="6539" y="3488"/>
                  </a:lnTo>
                  <a:lnTo>
                    <a:pt x="7193" y="3488"/>
                  </a:lnTo>
                  <a:lnTo>
                    <a:pt x="7848" y="3488"/>
                  </a:lnTo>
                  <a:lnTo>
                    <a:pt x="8501" y="3488"/>
                  </a:lnTo>
                  <a:lnTo>
                    <a:pt x="9155" y="3488"/>
                  </a:lnTo>
                  <a:lnTo>
                    <a:pt x="9809" y="3488"/>
                  </a:lnTo>
                  <a:lnTo>
                    <a:pt x="10464" y="3488"/>
                  </a:lnTo>
                  <a:lnTo>
                    <a:pt x="10464" y="2616"/>
                  </a:lnTo>
                  <a:lnTo>
                    <a:pt x="10464" y="1744"/>
                  </a:lnTo>
                  <a:lnTo>
                    <a:pt x="10464" y="872"/>
                  </a:lnTo>
                  <a:lnTo>
                    <a:pt x="10464" y="0"/>
                  </a:lnTo>
                  <a:lnTo>
                    <a:pt x="9809" y="0"/>
                  </a:lnTo>
                  <a:lnTo>
                    <a:pt x="9155" y="0"/>
                  </a:lnTo>
                  <a:lnTo>
                    <a:pt x="8501" y="0"/>
                  </a:lnTo>
                  <a:lnTo>
                    <a:pt x="7848" y="0"/>
                  </a:lnTo>
                  <a:lnTo>
                    <a:pt x="7193" y="0"/>
                  </a:lnTo>
                  <a:lnTo>
                    <a:pt x="6539" y="0"/>
                  </a:lnTo>
                  <a:lnTo>
                    <a:pt x="5885" y="0"/>
                  </a:lnTo>
                  <a:lnTo>
                    <a:pt x="5232" y="0"/>
                  </a:lnTo>
                  <a:lnTo>
                    <a:pt x="4578" y="0"/>
                  </a:lnTo>
                  <a:lnTo>
                    <a:pt x="3923" y="0"/>
                  </a:lnTo>
                  <a:lnTo>
                    <a:pt x="3269" y="0"/>
                  </a:lnTo>
                  <a:lnTo>
                    <a:pt x="2616" y="0"/>
                  </a:lnTo>
                  <a:lnTo>
                    <a:pt x="1962" y="0"/>
                  </a:lnTo>
                  <a:lnTo>
                    <a:pt x="1307" y="0"/>
                  </a:lnTo>
                  <a:lnTo>
                    <a:pt x="653" y="0"/>
                  </a:lnTo>
                  <a:lnTo>
                    <a:pt x="0" y="0"/>
                  </a:lnTo>
                  <a:lnTo>
                    <a:pt x="0" y="872"/>
                  </a:lnTo>
                  <a:lnTo>
                    <a:pt x="0" y="1744"/>
                  </a:lnTo>
                  <a:lnTo>
                    <a:pt x="0" y="2616"/>
                  </a:lnTo>
                  <a:lnTo>
                    <a:pt x="0" y="348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9" name="Freeform 7"/>
            <p:cNvSpPr>
              <a:spLocks noEditPoints="1"/>
            </p:cNvSpPr>
            <p:nvPr userDrawn="1"/>
          </p:nvSpPr>
          <p:spPr bwMode="auto">
            <a:xfrm>
              <a:off x="10419386" y="6306922"/>
              <a:ext cx="1218166" cy="286381"/>
            </a:xfrm>
            <a:custGeom>
              <a:avLst/>
              <a:gdLst>
                <a:gd name="T0" fmla="*/ 3454 w 8720"/>
                <a:gd name="T1" fmla="*/ 1049 h 2050"/>
                <a:gd name="T2" fmla="*/ 3166 w 8720"/>
                <a:gd name="T3" fmla="*/ 1051 h 2050"/>
                <a:gd name="T4" fmla="*/ 3068 w 8720"/>
                <a:gd name="T5" fmla="*/ 1409 h 2050"/>
                <a:gd name="T6" fmla="*/ 3261 w 8720"/>
                <a:gd name="T7" fmla="*/ 1675 h 2050"/>
                <a:gd name="T8" fmla="*/ 3519 w 8720"/>
                <a:gd name="T9" fmla="*/ 1539 h 2050"/>
                <a:gd name="T10" fmla="*/ 3863 w 8720"/>
                <a:gd name="T11" fmla="*/ 1565 h 2050"/>
                <a:gd name="T12" fmla="*/ 3603 w 8720"/>
                <a:gd name="T13" fmla="*/ 1898 h 2050"/>
                <a:gd name="T14" fmla="*/ 3188 w 8720"/>
                <a:gd name="T15" fmla="*/ 1959 h 2050"/>
                <a:gd name="T16" fmla="*/ 2786 w 8720"/>
                <a:gd name="T17" fmla="*/ 1655 h 2050"/>
                <a:gd name="T18" fmla="*/ 2732 w 8720"/>
                <a:gd name="T19" fmla="*/ 1207 h 2050"/>
                <a:gd name="T20" fmla="*/ 3018 w 8720"/>
                <a:gd name="T21" fmla="*/ 786 h 2050"/>
                <a:gd name="T22" fmla="*/ 3503 w 8720"/>
                <a:gd name="T23" fmla="*/ 740 h 2050"/>
                <a:gd name="T24" fmla="*/ 3857 w 8720"/>
                <a:gd name="T25" fmla="*/ 1088 h 2050"/>
                <a:gd name="T26" fmla="*/ 4586 w 8720"/>
                <a:gd name="T27" fmla="*/ 1045 h 2050"/>
                <a:gd name="T28" fmla="*/ 4361 w 8720"/>
                <a:gd name="T29" fmla="*/ 1327 h 2050"/>
                <a:gd name="T30" fmla="*/ 4391 w 8720"/>
                <a:gd name="T31" fmla="*/ 895 h 2050"/>
                <a:gd name="T32" fmla="*/ 4703 w 8720"/>
                <a:gd name="T33" fmla="*/ 728 h 2050"/>
                <a:gd name="T34" fmla="*/ 5384 w 8720"/>
                <a:gd name="T35" fmla="*/ 1679 h 2050"/>
                <a:gd name="T36" fmla="*/ 5258 w 8720"/>
                <a:gd name="T37" fmla="*/ 1026 h 2050"/>
                <a:gd name="T38" fmla="*/ 4962 w 8720"/>
                <a:gd name="T39" fmla="*/ 1758 h 2050"/>
                <a:gd name="T40" fmla="*/ 5374 w 8720"/>
                <a:gd name="T41" fmla="*/ 1960 h 2050"/>
                <a:gd name="T42" fmla="*/ 6441 w 8720"/>
                <a:gd name="T43" fmla="*/ 1538 h 2050"/>
                <a:gd name="T44" fmla="*/ 6231 w 8720"/>
                <a:gd name="T45" fmla="*/ 1676 h 2050"/>
                <a:gd name="T46" fmla="*/ 6056 w 8720"/>
                <a:gd name="T47" fmla="*/ 1487 h 2050"/>
                <a:gd name="T48" fmla="*/ 5746 w 8720"/>
                <a:gd name="T49" fmla="*/ 1671 h 2050"/>
                <a:gd name="T50" fmla="*/ 5949 w 8720"/>
                <a:gd name="T51" fmla="*/ 1899 h 2050"/>
                <a:gd name="T52" fmla="*/ 6505 w 8720"/>
                <a:gd name="T53" fmla="*/ 1921 h 2050"/>
                <a:gd name="T54" fmla="*/ 6769 w 8720"/>
                <a:gd name="T55" fmla="*/ 1628 h 2050"/>
                <a:gd name="T56" fmla="*/ 8698 w 8720"/>
                <a:gd name="T57" fmla="*/ 985 h 2050"/>
                <a:gd name="T58" fmla="*/ 8484 w 8720"/>
                <a:gd name="T59" fmla="*/ 747 h 2050"/>
                <a:gd name="T60" fmla="*/ 8083 w 8720"/>
                <a:gd name="T61" fmla="*/ 806 h 2050"/>
                <a:gd name="T62" fmla="*/ 7885 w 8720"/>
                <a:gd name="T63" fmla="*/ 840 h 2050"/>
                <a:gd name="T64" fmla="*/ 7630 w 8720"/>
                <a:gd name="T65" fmla="*/ 721 h 2050"/>
                <a:gd name="T66" fmla="*/ 7324 w 8720"/>
                <a:gd name="T67" fmla="*/ 871 h 2050"/>
                <a:gd name="T68" fmla="*/ 7270 w 8720"/>
                <a:gd name="T69" fmla="*/ 1283 h 2050"/>
                <a:gd name="T70" fmla="*/ 7447 w 8720"/>
                <a:gd name="T71" fmla="*/ 1034 h 2050"/>
                <a:gd name="T72" fmla="*/ 7645 w 8720"/>
                <a:gd name="T73" fmla="*/ 1211 h 2050"/>
                <a:gd name="T74" fmla="*/ 8034 w 8720"/>
                <a:gd name="T75" fmla="*/ 1138 h 2050"/>
                <a:gd name="T76" fmla="*/ 8289 w 8720"/>
                <a:gd name="T77" fmla="*/ 1046 h 2050"/>
                <a:gd name="T78" fmla="*/ 8377 w 8720"/>
                <a:gd name="T79" fmla="*/ 1938 h 2050"/>
                <a:gd name="T80" fmla="*/ 2458 w 8720"/>
                <a:gd name="T81" fmla="*/ 483 h 2050"/>
                <a:gd name="T82" fmla="*/ 2107 w 8720"/>
                <a:gd name="T83" fmla="*/ 1483 h 2050"/>
                <a:gd name="T84" fmla="*/ 2152 w 8720"/>
                <a:gd name="T85" fmla="*/ 299 h 2050"/>
                <a:gd name="T86" fmla="*/ 2419 w 8720"/>
                <a:gd name="T87" fmla="*/ 83 h 2050"/>
                <a:gd name="T88" fmla="*/ 2622 w 8720"/>
                <a:gd name="T89" fmla="*/ 369 h 2050"/>
                <a:gd name="T90" fmla="*/ 1130 w 8720"/>
                <a:gd name="T91" fmla="*/ 2050 h 2050"/>
                <a:gd name="T92" fmla="*/ 570 w 8720"/>
                <a:gd name="T93" fmla="*/ 1915 h 2050"/>
                <a:gd name="T94" fmla="*/ 120 w 8720"/>
                <a:gd name="T95" fmla="*/ 1452 h 2050"/>
                <a:gd name="T96" fmla="*/ 8 w 8720"/>
                <a:gd name="T97" fmla="*/ 822 h 2050"/>
                <a:gd name="T98" fmla="*/ 222 w 8720"/>
                <a:gd name="T99" fmla="*/ 289 h 2050"/>
                <a:gd name="T100" fmla="*/ 690 w 8720"/>
                <a:gd name="T101" fmla="*/ 389 h 2050"/>
                <a:gd name="T102" fmla="*/ 424 w 8720"/>
                <a:gd name="T103" fmla="*/ 782 h 2050"/>
                <a:gd name="T104" fmla="*/ 460 w 8720"/>
                <a:gd name="T105" fmla="*/ 1242 h 2050"/>
                <a:gd name="T106" fmla="*/ 783 w 8720"/>
                <a:gd name="T107" fmla="*/ 1573 h 2050"/>
                <a:gd name="T108" fmla="*/ 1246 w 8720"/>
                <a:gd name="T109" fmla="*/ 1632 h 2050"/>
                <a:gd name="T110" fmla="*/ 745 w 8720"/>
                <a:gd name="T111" fmla="*/ 1453 h 2050"/>
                <a:gd name="T112" fmla="*/ 1347 w 8720"/>
                <a:gd name="T113" fmla="*/ 1509 h 2050"/>
                <a:gd name="T114" fmla="*/ 1693 w 8720"/>
                <a:gd name="T115" fmla="*/ 1099 h 2050"/>
                <a:gd name="T116" fmla="*/ 1523 w 8720"/>
                <a:gd name="T117" fmla="*/ 505 h 2050"/>
                <a:gd name="T118" fmla="*/ 1152 w 8720"/>
                <a:gd name="T119" fmla="*/ 342 h 2050"/>
                <a:gd name="T120" fmla="*/ 691 w 8720"/>
                <a:gd name="T121" fmla="*/ 497 h 2050"/>
                <a:gd name="T122" fmla="*/ 491 w 8720"/>
                <a:gd name="T123" fmla="*/ 1037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720" h="2050">
                  <a:moveTo>
                    <a:pt x="3554" y="1338"/>
                  </a:moveTo>
                  <a:lnTo>
                    <a:pt x="3553" y="1299"/>
                  </a:lnTo>
                  <a:lnTo>
                    <a:pt x="3550" y="1263"/>
                  </a:lnTo>
                  <a:lnTo>
                    <a:pt x="3546" y="1228"/>
                  </a:lnTo>
                  <a:lnTo>
                    <a:pt x="3538" y="1196"/>
                  </a:lnTo>
                  <a:lnTo>
                    <a:pt x="3529" y="1165"/>
                  </a:lnTo>
                  <a:lnTo>
                    <a:pt x="3518" y="1137"/>
                  </a:lnTo>
                  <a:lnTo>
                    <a:pt x="3511" y="1124"/>
                  </a:lnTo>
                  <a:lnTo>
                    <a:pt x="3504" y="1112"/>
                  </a:lnTo>
                  <a:lnTo>
                    <a:pt x="3490" y="1088"/>
                  </a:lnTo>
                  <a:lnTo>
                    <a:pt x="3473" y="1068"/>
                  </a:lnTo>
                  <a:lnTo>
                    <a:pt x="3454" y="1049"/>
                  </a:lnTo>
                  <a:lnTo>
                    <a:pt x="3436" y="1034"/>
                  </a:lnTo>
                  <a:lnTo>
                    <a:pt x="3413" y="1022"/>
                  </a:lnTo>
                  <a:lnTo>
                    <a:pt x="3390" y="1012"/>
                  </a:lnTo>
                  <a:lnTo>
                    <a:pt x="3366" y="1004"/>
                  </a:lnTo>
                  <a:lnTo>
                    <a:pt x="3339" y="1000"/>
                  </a:lnTo>
                  <a:lnTo>
                    <a:pt x="3311" y="998"/>
                  </a:lnTo>
                  <a:lnTo>
                    <a:pt x="3283" y="1000"/>
                  </a:lnTo>
                  <a:lnTo>
                    <a:pt x="3257" y="1004"/>
                  </a:lnTo>
                  <a:lnTo>
                    <a:pt x="3232" y="1012"/>
                  </a:lnTo>
                  <a:lnTo>
                    <a:pt x="3209" y="1022"/>
                  </a:lnTo>
                  <a:lnTo>
                    <a:pt x="3187" y="1035"/>
                  </a:lnTo>
                  <a:lnTo>
                    <a:pt x="3166" y="1051"/>
                  </a:lnTo>
                  <a:lnTo>
                    <a:pt x="3148" y="1069"/>
                  </a:lnTo>
                  <a:lnTo>
                    <a:pt x="3130" y="1091"/>
                  </a:lnTo>
                  <a:lnTo>
                    <a:pt x="3116" y="1114"/>
                  </a:lnTo>
                  <a:lnTo>
                    <a:pt x="3102" y="1139"/>
                  </a:lnTo>
                  <a:lnTo>
                    <a:pt x="3090" y="1167"/>
                  </a:lnTo>
                  <a:lnTo>
                    <a:pt x="3081" y="1197"/>
                  </a:lnTo>
                  <a:lnTo>
                    <a:pt x="3073" y="1228"/>
                  </a:lnTo>
                  <a:lnTo>
                    <a:pt x="3068" y="1263"/>
                  </a:lnTo>
                  <a:lnTo>
                    <a:pt x="3065" y="1298"/>
                  </a:lnTo>
                  <a:lnTo>
                    <a:pt x="3063" y="1336"/>
                  </a:lnTo>
                  <a:lnTo>
                    <a:pt x="3065" y="1374"/>
                  </a:lnTo>
                  <a:lnTo>
                    <a:pt x="3068" y="1409"/>
                  </a:lnTo>
                  <a:lnTo>
                    <a:pt x="3073" y="1444"/>
                  </a:lnTo>
                  <a:lnTo>
                    <a:pt x="3081" y="1477"/>
                  </a:lnTo>
                  <a:lnTo>
                    <a:pt x="3091" y="1507"/>
                  </a:lnTo>
                  <a:lnTo>
                    <a:pt x="3102" y="1536"/>
                  </a:lnTo>
                  <a:lnTo>
                    <a:pt x="3117" y="1562"/>
                  </a:lnTo>
                  <a:lnTo>
                    <a:pt x="3132" y="1586"/>
                  </a:lnTo>
                  <a:lnTo>
                    <a:pt x="3149" y="1607"/>
                  </a:lnTo>
                  <a:lnTo>
                    <a:pt x="3169" y="1626"/>
                  </a:lnTo>
                  <a:lnTo>
                    <a:pt x="3189" y="1643"/>
                  </a:lnTo>
                  <a:lnTo>
                    <a:pt x="3211" y="1656"/>
                  </a:lnTo>
                  <a:lnTo>
                    <a:pt x="3236" y="1667"/>
                  </a:lnTo>
                  <a:lnTo>
                    <a:pt x="3261" y="1675"/>
                  </a:lnTo>
                  <a:lnTo>
                    <a:pt x="3288" y="1679"/>
                  </a:lnTo>
                  <a:lnTo>
                    <a:pt x="3317" y="1680"/>
                  </a:lnTo>
                  <a:lnTo>
                    <a:pt x="3343" y="1679"/>
                  </a:lnTo>
                  <a:lnTo>
                    <a:pt x="3369" y="1675"/>
                  </a:lnTo>
                  <a:lnTo>
                    <a:pt x="3393" y="1667"/>
                  </a:lnTo>
                  <a:lnTo>
                    <a:pt x="3417" y="1657"/>
                  </a:lnTo>
                  <a:lnTo>
                    <a:pt x="3438" y="1644"/>
                  </a:lnTo>
                  <a:lnTo>
                    <a:pt x="3458" y="1628"/>
                  </a:lnTo>
                  <a:lnTo>
                    <a:pt x="3476" y="1609"/>
                  </a:lnTo>
                  <a:lnTo>
                    <a:pt x="3491" y="1588"/>
                  </a:lnTo>
                  <a:lnTo>
                    <a:pt x="3506" y="1565"/>
                  </a:lnTo>
                  <a:lnTo>
                    <a:pt x="3519" y="1539"/>
                  </a:lnTo>
                  <a:lnTo>
                    <a:pt x="3529" y="1512"/>
                  </a:lnTo>
                  <a:lnTo>
                    <a:pt x="3538" y="1480"/>
                  </a:lnTo>
                  <a:lnTo>
                    <a:pt x="3546" y="1448"/>
                  </a:lnTo>
                  <a:lnTo>
                    <a:pt x="3550" y="1414"/>
                  </a:lnTo>
                  <a:lnTo>
                    <a:pt x="3553" y="1377"/>
                  </a:lnTo>
                  <a:lnTo>
                    <a:pt x="3554" y="1338"/>
                  </a:lnTo>
                  <a:close/>
                  <a:moveTo>
                    <a:pt x="3897" y="1340"/>
                  </a:moveTo>
                  <a:lnTo>
                    <a:pt x="3893" y="1408"/>
                  </a:lnTo>
                  <a:lnTo>
                    <a:pt x="3885" y="1474"/>
                  </a:lnTo>
                  <a:lnTo>
                    <a:pt x="3880" y="1505"/>
                  </a:lnTo>
                  <a:lnTo>
                    <a:pt x="3872" y="1536"/>
                  </a:lnTo>
                  <a:lnTo>
                    <a:pt x="3863" y="1565"/>
                  </a:lnTo>
                  <a:lnTo>
                    <a:pt x="3853" y="1595"/>
                  </a:lnTo>
                  <a:lnTo>
                    <a:pt x="3843" y="1623"/>
                  </a:lnTo>
                  <a:lnTo>
                    <a:pt x="3831" y="1649"/>
                  </a:lnTo>
                  <a:lnTo>
                    <a:pt x="3803" y="1701"/>
                  </a:lnTo>
                  <a:lnTo>
                    <a:pt x="3771" y="1749"/>
                  </a:lnTo>
                  <a:lnTo>
                    <a:pt x="3753" y="1773"/>
                  </a:lnTo>
                  <a:lnTo>
                    <a:pt x="3734" y="1794"/>
                  </a:lnTo>
                  <a:lnTo>
                    <a:pt x="3716" y="1814"/>
                  </a:lnTo>
                  <a:lnTo>
                    <a:pt x="3694" y="1834"/>
                  </a:lnTo>
                  <a:lnTo>
                    <a:pt x="3650" y="1868"/>
                  </a:lnTo>
                  <a:lnTo>
                    <a:pt x="3627" y="1884"/>
                  </a:lnTo>
                  <a:lnTo>
                    <a:pt x="3603" y="1898"/>
                  </a:lnTo>
                  <a:lnTo>
                    <a:pt x="3552" y="1924"/>
                  </a:lnTo>
                  <a:lnTo>
                    <a:pt x="3526" y="1935"/>
                  </a:lnTo>
                  <a:lnTo>
                    <a:pt x="3498" y="1944"/>
                  </a:lnTo>
                  <a:lnTo>
                    <a:pt x="3470" y="1951"/>
                  </a:lnTo>
                  <a:lnTo>
                    <a:pt x="3441" y="1958"/>
                  </a:lnTo>
                  <a:lnTo>
                    <a:pt x="3411" y="1964"/>
                  </a:lnTo>
                  <a:lnTo>
                    <a:pt x="3381" y="1967"/>
                  </a:lnTo>
                  <a:lnTo>
                    <a:pt x="3319" y="1970"/>
                  </a:lnTo>
                  <a:lnTo>
                    <a:pt x="3285" y="1969"/>
                  </a:lnTo>
                  <a:lnTo>
                    <a:pt x="3252" y="1967"/>
                  </a:lnTo>
                  <a:lnTo>
                    <a:pt x="3220" y="1964"/>
                  </a:lnTo>
                  <a:lnTo>
                    <a:pt x="3188" y="1959"/>
                  </a:lnTo>
                  <a:lnTo>
                    <a:pt x="3158" y="1953"/>
                  </a:lnTo>
                  <a:lnTo>
                    <a:pt x="3128" y="1945"/>
                  </a:lnTo>
                  <a:lnTo>
                    <a:pt x="3071" y="1926"/>
                  </a:lnTo>
                  <a:lnTo>
                    <a:pt x="3018" y="1901"/>
                  </a:lnTo>
                  <a:lnTo>
                    <a:pt x="2993" y="1887"/>
                  </a:lnTo>
                  <a:lnTo>
                    <a:pt x="2969" y="1871"/>
                  </a:lnTo>
                  <a:lnTo>
                    <a:pt x="2924" y="1837"/>
                  </a:lnTo>
                  <a:lnTo>
                    <a:pt x="2882" y="1798"/>
                  </a:lnTo>
                  <a:lnTo>
                    <a:pt x="2864" y="1777"/>
                  </a:lnTo>
                  <a:lnTo>
                    <a:pt x="2846" y="1755"/>
                  </a:lnTo>
                  <a:lnTo>
                    <a:pt x="2814" y="1707"/>
                  </a:lnTo>
                  <a:lnTo>
                    <a:pt x="2786" y="1655"/>
                  </a:lnTo>
                  <a:lnTo>
                    <a:pt x="2775" y="1627"/>
                  </a:lnTo>
                  <a:lnTo>
                    <a:pt x="2764" y="1598"/>
                  </a:lnTo>
                  <a:lnTo>
                    <a:pt x="2754" y="1569"/>
                  </a:lnTo>
                  <a:lnTo>
                    <a:pt x="2746" y="1538"/>
                  </a:lnTo>
                  <a:lnTo>
                    <a:pt x="2738" y="1507"/>
                  </a:lnTo>
                  <a:lnTo>
                    <a:pt x="2732" y="1474"/>
                  </a:lnTo>
                  <a:lnTo>
                    <a:pt x="2728" y="1440"/>
                  </a:lnTo>
                  <a:lnTo>
                    <a:pt x="2725" y="1407"/>
                  </a:lnTo>
                  <a:lnTo>
                    <a:pt x="2722" y="1372"/>
                  </a:lnTo>
                  <a:lnTo>
                    <a:pt x="2721" y="1336"/>
                  </a:lnTo>
                  <a:lnTo>
                    <a:pt x="2725" y="1271"/>
                  </a:lnTo>
                  <a:lnTo>
                    <a:pt x="2732" y="1207"/>
                  </a:lnTo>
                  <a:lnTo>
                    <a:pt x="2738" y="1177"/>
                  </a:lnTo>
                  <a:lnTo>
                    <a:pt x="2746" y="1147"/>
                  </a:lnTo>
                  <a:lnTo>
                    <a:pt x="2764" y="1089"/>
                  </a:lnTo>
                  <a:lnTo>
                    <a:pt x="2775" y="1062"/>
                  </a:lnTo>
                  <a:lnTo>
                    <a:pt x="2787" y="1035"/>
                  </a:lnTo>
                  <a:lnTo>
                    <a:pt x="2815" y="983"/>
                  </a:lnTo>
                  <a:lnTo>
                    <a:pt x="2847" y="936"/>
                  </a:lnTo>
                  <a:lnTo>
                    <a:pt x="2865" y="913"/>
                  </a:lnTo>
                  <a:lnTo>
                    <a:pt x="2884" y="892"/>
                  </a:lnTo>
                  <a:lnTo>
                    <a:pt x="2925" y="852"/>
                  </a:lnTo>
                  <a:lnTo>
                    <a:pt x="2969" y="817"/>
                  </a:lnTo>
                  <a:lnTo>
                    <a:pt x="3018" y="786"/>
                  </a:lnTo>
                  <a:lnTo>
                    <a:pt x="3070" y="761"/>
                  </a:lnTo>
                  <a:lnTo>
                    <a:pt x="3098" y="750"/>
                  </a:lnTo>
                  <a:lnTo>
                    <a:pt x="3126" y="741"/>
                  </a:lnTo>
                  <a:lnTo>
                    <a:pt x="3155" y="732"/>
                  </a:lnTo>
                  <a:lnTo>
                    <a:pt x="3185" y="725"/>
                  </a:lnTo>
                  <a:lnTo>
                    <a:pt x="3216" y="721"/>
                  </a:lnTo>
                  <a:lnTo>
                    <a:pt x="3247" y="716"/>
                  </a:lnTo>
                  <a:lnTo>
                    <a:pt x="3311" y="713"/>
                  </a:lnTo>
                  <a:lnTo>
                    <a:pt x="3379" y="716"/>
                  </a:lnTo>
                  <a:lnTo>
                    <a:pt x="3411" y="720"/>
                  </a:lnTo>
                  <a:lnTo>
                    <a:pt x="3443" y="725"/>
                  </a:lnTo>
                  <a:lnTo>
                    <a:pt x="3503" y="740"/>
                  </a:lnTo>
                  <a:lnTo>
                    <a:pt x="3559" y="760"/>
                  </a:lnTo>
                  <a:lnTo>
                    <a:pt x="3586" y="772"/>
                  </a:lnTo>
                  <a:lnTo>
                    <a:pt x="3611" y="785"/>
                  </a:lnTo>
                  <a:lnTo>
                    <a:pt x="3636" y="800"/>
                  </a:lnTo>
                  <a:lnTo>
                    <a:pt x="3660" y="815"/>
                  </a:lnTo>
                  <a:lnTo>
                    <a:pt x="3703" y="851"/>
                  </a:lnTo>
                  <a:lnTo>
                    <a:pt x="3723" y="870"/>
                  </a:lnTo>
                  <a:lnTo>
                    <a:pt x="3743" y="890"/>
                  </a:lnTo>
                  <a:lnTo>
                    <a:pt x="3778" y="934"/>
                  </a:lnTo>
                  <a:lnTo>
                    <a:pt x="3809" y="982"/>
                  </a:lnTo>
                  <a:lnTo>
                    <a:pt x="3835" y="1033"/>
                  </a:lnTo>
                  <a:lnTo>
                    <a:pt x="3857" y="1088"/>
                  </a:lnTo>
                  <a:lnTo>
                    <a:pt x="3867" y="1117"/>
                  </a:lnTo>
                  <a:lnTo>
                    <a:pt x="3874" y="1147"/>
                  </a:lnTo>
                  <a:lnTo>
                    <a:pt x="3887" y="1208"/>
                  </a:lnTo>
                  <a:lnTo>
                    <a:pt x="3894" y="1273"/>
                  </a:lnTo>
                  <a:lnTo>
                    <a:pt x="3897" y="1340"/>
                  </a:lnTo>
                  <a:close/>
                  <a:moveTo>
                    <a:pt x="4810" y="1073"/>
                  </a:moveTo>
                  <a:lnTo>
                    <a:pt x="4769" y="1056"/>
                  </a:lnTo>
                  <a:lnTo>
                    <a:pt x="4732" y="1045"/>
                  </a:lnTo>
                  <a:lnTo>
                    <a:pt x="4694" y="1039"/>
                  </a:lnTo>
                  <a:lnTo>
                    <a:pt x="4653" y="1038"/>
                  </a:lnTo>
                  <a:lnTo>
                    <a:pt x="4619" y="1039"/>
                  </a:lnTo>
                  <a:lnTo>
                    <a:pt x="4586" y="1045"/>
                  </a:lnTo>
                  <a:lnTo>
                    <a:pt x="4555" y="1053"/>
                  </a:lnTo>
                  <a:lnTo>
                    <a:pt x="4526" y="1064"/>
                  </a:lnTo>
                  <a:lnTo>
                    <a:pt x="4501" y="1078"/>
                  </a:lnTo>
                  <a:lnTo>
                    <a:pt x="4476" y="1095"/>
                  </a:lnTo>
                  <a:lnTo>
                    <a:pt x="4453" y="1115"/>
                  </a:lnTo>
                  <a:lnTo>
                    <a:pt x="4433" y="1137"/>
                  </a:lnTo>
                  <a:lnTo>
                    <a:pt x="4415" y="1163"/>
                  </a:lnTo>
                  <a:lnTo>
                    <a:pt x="4400" y="1191"/>
                  </a:lnTo>
                  <a:lnTo>
                    <a:pt x="4386" y="1222"/>
                  </a:lnTo>
                  <a:lnTo>
                    <a:pt x="4375" y="1254"/>
                  </a:lnTo>
                  <a:lnTo>
                    <a:pt x="4366" y="1289"/>
                  </a:lnTo>
                  <a:lnTo>
                    <a:pt x="4361" y="1327"/>
                  </a:lnTo>
                  <a:lnTo>
                    <a:pt x="4356" y="1367"/>
                  </a:lnTo>
                  <a:lnTo>
                    <a:pt x="4355" y="1408"/>
                  </a:lnTo>
                  <a:lnTo>
                    <a:pt x="4355" y="1938"/>
                  </a:lnTo>
                  <a:lnTo>
                    <a:pt x="4017" y="1938"/>
                  </a:lnTo>
                  <a:lnTo>
                    <a:pt x="4017" y="1342"/>
                  </a:lnTo>
                  <a:lnTo>
                    <a:pt x="4017" y="746"/>
                  </a:lnTo>
                  <a:lnTo>
                    <a:pt x="4343" y="746"/>
                  </a:lnTo>
                  <a:lnTo>
                    <a:pt x="4343" y="1017"/>
                  </a:lnTo>
                  <a:lnTo>
                    <a:pt x="4352" y="984"/>
                  </a:lnTo>
                  <a:lnTo>
                    <a:pt x="4363" y="953"/>
                  </a:lnTo>
                  <a:lnTo>
                    <a:pt x="4375" y="923"/>
                  </a:lnTo>
                  <a:lnTo>
                    <a:pt x="4391" y="895"/>
                  </a:lnTo>
                  <a:lnTo>
                    <a:pt x="4408" y="870"/>
                  </a:lnTo>
                  <a:lnTo>
                    <a:pt x="4425" y="846"/>
                  </a:lnTo>
                  <a:lnTo>
                    <a:pt x="4446" y="824"/>
                  </a:lnTo>
                  <a:lnTo>
                    <a:pt x="4468" y="805"/>
                  </a:lnTo>
                  <a:lnTo>
                    <a:pt x="4492" y="787"/>
                  </a:lnTo>
                  <a:lnTo>
                    <a:pt x="4517" y="772"/>
                  </a:lnTo>
                  <a:lnTo>
                    <a:pt x="4544" y="758"/>
                  </a:lnTo>
                  <a:lnTo>
                    <a:pt x="4573" y="748"/>
                  </a:lnTo>
                  <a:lnTo>
                    <a:pt x="4603" y="740"/>
                  </a:lnTo>
                  <a:lnTo>
                    <a:pt x="4635" y="734"/>
                  </a:lnTo>
                  <a:lnTo>
                    <a:pt x="4669" y="730"/>
                  </a:lnTo>
                  <a:lnTo>
                    <a:pt x="4703" y="728"/>
                  </a:lnTo>
                  <a:lnTo>
                    <a:pt x="4753" y="732"/>
                  </a:lnTo>
                  <a:lnTo>
                    <a:pt x="4810" y="741"/>
                  </a:lnTo>
                  <a:lnTo>
                    <a:pt x="4810" y="1073"/>
                  </a:lnTo>
                  <a:close/>
                  <a:moveTo>
                    <a:pt x="5598" y="1938"/>
                  </a:moveTo>
                  <a:lnTo>
                    <a:pt x="5598" y="1670"/>
                  </a:lnTo>
                  <a:lnTo>
                    <a:pt x="5561" y="1678"/>
                  </a:lnTo>
                  <a:lnTo>
                    <a:pt x="5526" y="1683"/>
                  </a:lnTo>
                  <a:lnTo>
                    <a:pt x="5494" y="1685"/>
                  </a:lnTo>
                  <a:lnTo>
                    <a:pt x="5458" y="1686"/>
                  </a:lnTo>
                  <a:lnTo>
                    <a:pt x="5432" y="1685"/>
                  </a:lnTo>
                  <a:lnTo>
                    <a:pt x="5406" y="1683"/>
                  </a:lnTo>
                  <a:lnTo>
                    <a:pt x="5384" y="1679"/>
                  </a:lnTo>
                  <a:lnTo>
                    <a:pt x="5364" y="1674"/>
                  </a:lnTo>
                  <a:lnTo>
                    <a:pt x="5345" y="1667"/>
                  </a:lnTo>
                  <a:lnTo>
                    <a:pt x="5328" y="1658"/>
                  </a:lnTo>
                  <a:lnTo>
                    <a:pt x="5314" y="1648"/>
                  </a:lnTo>
                  <a:lnTo>
                    <a:pt x="5302" y="1636"/>
                  </a:lnTo>
                  <a:lnTo>
                    <a:pt x="5292" y="1622"/>
                  </a:lnTo>
                  <a:lnTo>
                    <a:pt x="5282" y="1605"/>
                  </a:lnTo>
                  <a:lnTo>
                    <a:pt x="5275" y="1587"/>
                  </a:lnTo>
                  <a:lnTo>
                    <a:pt x="5268" y="1566"/>
                  </a:lnTo>
                  <a:lnTo>
                    <a:pt x="5262" y="1517"/>
                  </a:lnTo>
                  <a:lnTo>
                    <a:pt x="5258" y="1459"/>
                  </a:lnTo>
                  <a:lnTo>
                    <a:pt x="5258" y="1026"/>
                  </a:lnTo>
                  <a:lnTo>
                    <a:pt x="5583" y="1026"/>
                  </a:lnTo>
                  <a:lnTo>
                    <a:pt x="5583" y="755"/>
                  </a:lnTo>
                  <a:lnTo>
                    <a:pt x="5258" y="755"/>
                  </a:lnTo>
                  <a:lnTo>
                    <a:pt x="5258" y="365"/>
                  </a:lnTo>
                  <a:lnTo>
                    <a:pt x="4920" y="556"/>
                  </a:lnTo>
                  <a:lnTo>
                    <a:pt x="4920" y="1037"/>
                  </a:lnTo>
                  <a:lnTo>
                    <a:pt x="4920" y="1519"/>
                  </a:lnTo>
                  <a:lnTo>
                    <a:pt x="4921" y="1575"/>
                  </a:lnTo>
                  <a:lnTo>
                    <a:pt x="4926" y="1627"/>
                  </a:lnTo>
                  <a:lnTo>
                    <a:pt x="4935" y="1674"/>
                  </a:lnTo>
                  <a:lnTo>
                    <a:pt x="4946" y="1718"/>
                  </a:lnTo>
                  <a:lnTo>
                    <a:pt x="4962" y="1758"/>
                  </a:lnTo>
                  <a:lnTo>
                    <a:pt x="4981" y="1794"/>
                  </a:lnTo>
                  <a:lnTo>
                    <a:pt x="5003" y="1826"/>
                  </a:lnTo>
                  <a:lnTo>
                    <a:pt x="5030" y="1855"/>
                  </a:lnTo>
                  <a:lnTo>
                    <a:pt x="5044" y="1868"/>
                  </a:lnTo>
                  <a:lnTo>
                    <a:pt x="5060" y="1880"/>
                  </a:lnTo>
                  <a:lnTo>
                    <a:pt x="5093" y="1901"/>
                  </a:lnTo>
                  <a:lnTo>
                    <a:pt x="5130" y="1920"/>
                  </a:lnTo>
                  <a:lnTo>
                    <a:pt x="5171" y="1935"/>
                  </a:lnTo>
                  <a:lnTo>
                    <a:pt x="5216" y="1946"/>
                  </a:lnTo>
                  <a:lnTo>
                    <a:pt x="5265" y="1954"/>
                  </a:lnTo>
                  <a:lnTo>
                    <a:pt x="5317" y="1959"/>
                  </a:lnTo>
                  <a:lnTo>
                    <a:pt x="5374" y="1960"/>
                  </a:lnTo>
                  <a:lnTo>
                    <a:pt x="5431" y="1959"/>
                  </a:lnTo>
                  <a:lnTo>
                    <a:pt x="5484" y="1956"/>
                  </a:lnTo>
                  <a:lnTo>
                    <a:pt x="5538" y="1949"/>
                  </a:lnTo>
                  <a:lnTo>
                    <a:pt x="5598" y="1938"/>
                  </a:lnTo>
                  <a:close/>
                  <a:moveTo>
                    <a:pt x="6796" y="1358"/>
                  </a:moveTo>
                  <a:lnTo>
                    <a:pt x="6796" y="746"/>
                  </a:lnTo>
                  <a:lnTo>
                    <a:pt x="6457" y="746"/>
                  </a:lnTo>
                  <a:lnTo>
                    <a:pt x="6457" y="1358"/>
                  </a:lnTo>
                  <a:lnTo>
                    <a:pt x="6455" y="1440"/>
                  </a:lnTo>
                  <a:lnTo>
                    <a:pt x="6451" y="1476"/>
                  </a:lnTo>
                  <a:lnTo>
                    <a:pt x="6447" y="1508"/>
                  </a:lnTo>
                  <a:lnTo>
                    <a:pt x="6441" y="1538"/>
                  </a:lnTo>
                  <a:lnTo>
                    <a:pt x="6435" y="1564"/>
                  </a:lnTo>
                  <a:lnTo>
                    <a:pt x="6426" y="1587"/>
                  </a:lnTo>
                  <a:lnTo>
                    <a:pt x="6415" y="1607"/>
                  </a:lnTo>
                  <a:lnTo>
                    <a:pt x="6402" y="1624"/>
                  </a:lnTo>
                  <a:lnTo>
                    <a:pt x="6388" y="1639"/>
                  </a:lnTo>
                  <a:lnTo>
                    <a:pt x="6373" y="1650"/>
                  </a:lnTo>
                  <a:lnTo>
                    <a:pt x="6355" y="1660"/>
                  </a:lnTo>
                  <a:lnTo>
                    <a:pt x="6334" y="1668"/>
                  </a:lnTo>
                  <a:lnTo>
                    <a:pt x="6311" y="1673"/>
                  </a:lnTo>
                  <a:lnTo>
                    <a:pt x="6287" y="1676"/>
                  </a:lnTo>
                  <a:lnTo>
                    <a:pt x="6259" y="1677"/>
                  </a:lnTo>
                  <a:lnTo>
                    <a:pt x="6231" y="1676"/>
                  </a:lnTo>
                  <a:lnTo>
                    <a:pt x="6206" y="1673"/>
                  </a:lnTo>
                  <a:lnTo>
                    <a:pt x="6181" y="1668"/>
                  </a:lnTo>
                  <a:lnTo>
                    <a:pt x="6160" y="1660"/>
                  </a:lnTo>
                  <a:lnTo>
                    <a:pt x="6141" y="1652"/>
                  </a:lnTo>
                  <a:lnTo>
                    <a:pt x="6124" y="1640"/>
                  </a:lnTo>
                  <a:lnTo>
                    <a:pt x="6109" y="1626"/>
                  </a:lnTo>
                  <a:lnTo>
                    <a:pt x="6096" y="1609"/>
                  </a:lnTo>
                  <a:lnTo>
                    <a:pt x="6085" y="1590"/>
                  </a:lnTo>
                  <a:lnTo>
                    <a:pt x="6075" y="1569"/>
                  </a:lnTo>
                  <a:lnTo>
                    <a:pt x="6067" y="1545"/>
                  </a:lnTo>
                  <a:lnTo>
                    <a:pt x="6060" y="1517"/>
                  </a:lnTo>
                  <a:lnTo>
                    <a:pt x="6056" y="1487"/>
                  </a:lnTo>
                  <a:lnTo>
                    <a:pt x="6053" y="1454"/>
                  </a:lnTo>
                  <a:lnTo>
                    <a:pt x="6050" y="1417"/>
                  </a:lnTo>
                  <a:lnTo>
                    <a:pt x="6049" y="1378"/>
                  </a:lnTo>
                  <a:lnTo>
                    <a:pt x="6049" y="746"/>
                  </a:lnTo>
                  <a:lnTo>
                    <a:pt x="5710" y="746"/>
                  </a:lnTo>
                  <a:lnTo>
                    <a:pt x="5710" y="1373"/>
                  </a:lnTo>
                  <a:lnTo>
                    <a:pt x="5713" y="1465"/>
                  </a:lnTo>
                  <a:lnTo>
                    <a:pt x="5715" y="1505"/>
                  </a:lnTo>
                  <a:lnTo>
                    <a:pt x="5718" y="1544"/>
                  </a:lnTo>
                  <a:lnTo>
                    <a:pt x="5729" y="1612"/>
                  </a:lnTo>
                  <a:lnTo>
                    <a:pt x="5737" y="1643"/>
                  </a:lnTo>
                  <a:lnTo>
                    <a:pt x="5746" y="1671"/>
                  </a:lnTo>
                  <a:lnTo>
                    <a:pt x="5756" y="1698"/>
                  </a:lnTo>
                  <a:lnTo>
                    <a:pt x="5768" y="1723"/>
                  </a:lnTo>
                  <a:lnTo>
                    <a:pt x="5780" y="1747"/>
                  </a:lnTo>
                  <a:lnTo>
                    <a:pt x="5796" y="1769"/>
                  </a:lnTo>
                  <a:lnTo>
                    <a:pt x="5812" y="1790"/>
                  </a:lnTo>
                  <a:lnTo>
                    <a:pt x="5830" y="1810"/>
                  </a:lnTo>
                  <a:lnTo>
                    <a:pt x="5849" y="1829"/>
                  </a:lnTo>
                  <a:lnTo>
                    <a:pt x="5872" y="1848"/>
                  </a:lnTo>
                  <a:lnTo>
                    <a:pt x="5889" y="1863"/>
                  </a:lnTo>
                  <a:lnTo>
                    <a:pt x="5908" y="1876"/>
                  </a:lnTo>
                  <a:lnTo>
                    <a:pt x="5928" y="1888"/>
                  </a:lnTo>
                  <a:lnTo>
                    <a:pt x="5949" y="1899"/>
                  </a:lnTo>
                  <a:lnTo>
                    <a:pt x="5972" y="1909"/>
                  </a:lnTo>
                  <a:lnTo>
                    <a:pt x="5994" y="1919"/>
                  </a:lnTo>
                  <a:lnTo>
                    <a:pt x="6040" y="1936"/>
                  </a:lnTo>
                  <a:lnTo>
                    <a:pt x="6091" y="1949"/>
                  </a:lnTo>
                  <a:lnTo>
                    <a:pt x="6144" y="1958"/>
                  </a:lnTo>
                  <a:lnTo>
                    <a:pt x="6199" y="1964"/>
                  </a:lnTo>
                  <a:lnTo>
                    <a:pt x="6257" y="1966"/>
                  </a:lnTo>
                  <a:lnTo>
                    <a:pt x="6325" y="1963"/>
                  </a:lnTo>
                  <a:lnTo>
                    <a:pt x="6388" y="1955"/>
                  </a:lnTo>
                  <a:lnTo>
                    <a:pt x="6419" y="1948"/>
                  </a:lnTo>
                  <a:lnTo>
                    <a:pt x="6448" y="1940"/>
                  </a:lnTo>
                  <a:lnTo>
                    <a:pt x="6505" y="1921"/>
                  </a:lnTo>
                  <a:lnTo>
                    <a:pt x="6531" y="1910"/>
                  </a:lnTo>
                  <a:lnTo>
                    <a:pt x="6557" y="1898"/>
                  </a:lnTo>
                  <a:lnTo>
                    <a:pt x="6605" y="1869"/>
                  </a:lnTo>
                  <a:lnTo>
                    <a:pt x="6626" y="1853"/>
                  </a:lnTo>
                  <a:lnTo>
                    <a:pt x="6647" y="1835"/>
                  </a:lnTo>
                  <a:lnTo>
                    <a:pt x="6667" y="1816"/>
                  </a:lnTo>
                  <a:lnTo>
                    <a:pt x="6685" y="1796"/>
                  </a:lnTo>
                  <a:lnTo>
                    <a:pt x="6699" y="1779"/>
                  </a:lnTo>
                  <a:lnTo>
                    <a:pt x="6712" y="1760"/>
                  </a:lnTo>
                  <a:lnTo>
                    <a:pt x="6735" y="1721"/>
                  </a:lnTo>
                  <a:lnTo>
                    <a:pt x="6755" y="1678"/>
                  </a:lnTo>
                  <a:lnTo>
                    <a:pt x="6769" y="1628"/>
                  </a:lnTo>
                  <a:lnTo>
                    <a:pt x="6781" y="1573"/>
                  </a:lnTo>
                  <a:lnTo>
                    <a:pt x="6786" y="1542"/>
                  </a:lnTo>
                  <a:lnTo>
                    <a:pt x="6790" y="1509"/>
                  </a:lnTo>
                  <a:lnTo>
                    <a:pt x="6795" y="1438"/>
                  </a:lnTo>
                  <a:lnTo>
                    <a:pt x="6796" y="1358"/>
                  </a:lnTo>
                  <a:close/>
                  <a:moveTo>
                    <a:pt x="8720" y="1938"/>
                  </a:moveTo>
                  <a:lnTo>
                    <a:pt x="8720" y="1254"/>
                  </a:lnTo>
                  <a:lnTo>
                    <a:pt x="8718" y="1185"/>
                  </a:lnTo>
                  <a:lnTo>
                    <a:pt x="8716" y="1124"/>
                  </a:lnTo>
                  <a:lnTo>
                    <a:pt x="8712" y="1072"/>
                  </a:lnTo>
                  <a:lnTo>
                    <a:pt x="8706" y="1025"/>
                  </a:lnTo>
                  <a:lnTo>
                    <a:pt x="8698" y="985"/>
                  </a:lnTo>
                  <a:lnTo>
                    <a:pt x="8688" y="950"/>
                  </a:lnTo>
                  <a:lnTo>
                    <a:pt x="8676" y="918"/>
                  </a:lnTo>
                  <a:lnTo>
                    <a:pt x="8662" y="891"/>
                  </a:lnTo>
                  <a:lnTo>
                    <a:pt x="8650" y="871"/>
                  </a:lnTo>
                  <a:lnTo>
                    <a:pt x="8636" y="853"/>
                  </a:lnTo>
                  <a:lnTo>
                    <a:pt x="8622" y="836"/>
                  </a:lnTo>
                  <a:lnTo>
                    <a:pt x="8605" y="820"/>
                  </a:lnTo>
                  <a:lnTo>
                    <a:pt x="8589" y="805"/>
                  </a:lnTo>
                  <a:lnTo>
                    <a:pt x="8570" y="791"/>
                  </a:lnTo>
                  <a:lnTo>
                    <a:pt x="8529" y="766"/>
                  </a:lnTo>
                  <a:lnTo>
                    <a:pt x="8506" y="756"/>
                  </a:lnTo>
                  <a:lnTo>
                    <a:pt x="8484" y="747"/>
                  </a:lnTo>
                  <a:lnTo>
                    <a:pt x="8436" y="733"/>
                  </a:lnTo>
                  <a:lnTo>
                    <a:pt x="8385" y="724"/>
                  </a:lnTo>
                  <a:lnTo>
                    <a:pt x="8332" y="721"/>
                  </a:lnTo>
                  <a:lnTo>
                    <a:pt x="8300" y="722"/>
                  </a:lnTo>
                  <a:lnTo>
                    <a:pt x="8269" y="725"/>
                  </a:lnTo>
                  <a:lnTo>
                    <a:pt x="8239" y="731"/>
                  </a:lnTo>
                  <a:lnTo>
                    <a:pt x="8210" y="737"/>
                  </a:lnTo>
                  <a:lnTo>
                    <a:pt x="8182" y="747"/>
                  </a:lnTo>
                  <a:lnTo>
                    <a:pt x="8155" y="758"/>
                  </a:lnTo>
                  <a:lnTo>
                    <a:pt x="8130" y="772"/>
                  </a:lnTo>
                  <a:lnTo>
                    <a:pt x="8106" y="788"/>
                  </a:lnTo>
                  <a:lnTo>
                    <a:pt x="8083" y="806"/>
                  </a:lnTo>
                  <a:lnTo>
                    <a:pt x="8061" y="827"/>
                  </a:lnTo>
                  <a:lnTo>
                    <a:pt x="8040" y="850"/>
                  </a:lnTo>
                  <a:lnTo>
                    <a:pt x="8021" y="874"/>
                  </a:lnTo>
                  <a:lnTo>
                    <a:pt x="8002" y="902"/>
                  </a:lnTo>
                  <a:lnTo>
                    <a:pt x="7984" y="931"/>
                  </a:lnTo>
                  <a:lnTo>
                    <a:pt x="7968" y="963"/>
                  </a:lnTo>
                  <a:lnTo>
                    <a:pt x="7951" y="997"/>
                  </a:lnTo>
                  <a:lnTo>
                    <a:pt x="7942" y="964"/>
                  </a:lnTo>
                  <a:lnTo>
                    <a:pt x="7932" y="933"/>
                  </a:lnTo>
                  <a:lnTo>
                    <a:pt x="7908" y="876"/>
                  </a:lnTo>
                  <a:lnTo>
                    <a:pt x="7893" y="852"/>
                  </a:lnTo>
                  <a:lnTo>
                    <a:pt x="7885" y="840"/>
                  </a:lnTo>
                  <a:lnTo>
                    <a:pt x="7877" y="828"/>
                  </a:lnTo>
                  <a:lnTo>
                    <a:pt x="7869" y="818"/>
                  </a:lnTo>
                  <a:lnTo>
                    <a:pt x="7859" y="808"/>
                  </a:lnTo>
                  <a:lnTo>
                    <a:pt x="7840" y="791"/>
                  </a:lnTo>
                  <a:lnTo>
                    <a:pt x="7820" y="774"/>
                  </a:lnTo>
                  <a:lnTo>
                    <a:pt x="7798" y="760"/>
                  </a:lnTo>
                  <a:lnTo>
                    <a:pt x="7773" y="748"/>
                  </a:lnTo>
                  <a:lnTo>
                    <a:pt x="7748" y="738"/>
                  </a:lnTo>
                  <a:lnTo>
                    <a:pt x="7721" y="731"/>
                  </a:lnTo>
                  <a:lnTo>
                    <a:pt x="7692" y="725"/>
                  </a:lnTo>
                  <a:lnTo>
                    <a:pt x="7662" y="722"/>
                  </a:lnTo>
                  <a:lnTo>
                    <a:pt x="7630" y="721"/>
                  </a:lnTo>
                  <a:lnTo>
                    <a:pt x="7598" y="722"/>
                  </a:lnTo>
                  <a:lnTo>
                    <a:pt x="7567" y="725"/>
                  </a:lnTo>
                  <a:lnTo>
                    <a:pt x="7537" y="730"/>
                  </a:lnTo>
                  <a:lnTo>
                    <a:pt x="7509" y="737"/>
                  </a:lnTo>
                  <a:lnTo>
                    <a:pt x="7481" y="746"/>
                  </a:lnTo>
                  <a:lnTo>
                    <a:pt x="7456" y="757"/>
                  </a:lnTo>
                  <a:lnTo>
                    <a:pt x="7431" y="771"/>
                  </a:lnTo>
                  <a:lnTo>
                    <a:pt x="7408" y="786"/>
                  </a:lnTo>
                  <a:lnTo>
                    <a:pt x="7386" y="804"/>
                  </a:lnTo>
                  <a:lnTo>
                    <a:pt x="7364" y="824"/>
                  </a:lnTo>
                  <a:lnTo>
                    <a:pt x="7344" y="846"/>
                  </a:lnTo>
                  <a:lnTo>
                    <a:pt x="7324" y="871"/>
                  </a:lnTo>
                  <a:lnTo>
                    <a:pt x="7307" y="896"/>
                  </a:lnTo>
                  <a:lnTo>
                    <a:pt x="7288" y="925"/>
                  </a:lnTo>
                  <a:lnTo>
                    <a:pt x="7270" y="956"/>
                  </a:lnTo>
                  <a:lnTo>
                    <a:pt x="7253" y="990"/>
                  </a:lnTo>
                  <a:lnTo>
                    <a:pt x="7253" y="746"/>
                  </a:lnTo>
                  <a:lnTo>
                    <a:pt x="6927" y="746"/>
                  </a:lnTo>
                  <a:lnTo>
                    <a:pt x="6927" y="1342"/>
                  </a:lnTo>
                  <a:lnTo>
                    <a:pt x="6927" y="1938"/>
                  </a:lnTo>
                  <a:lnTo>
                    <a:pt x="7266" y="1938"/>
                  </a:lnTo>
                  <a:lnTo>
                    <a:pt x="7266" y="1384"/>
                  </a:lnTo>
                  <a:lnTo>
                    <a:pt x="7267" y="1329"/>
                  </a:lnTo>
                  <a:lnTo>
                    <a:pt x="7270" y="1283"/>
                  </a:lnTo>
                  <a:lnTo>
                    <a:pt x="7276" y="1242"/>
                  </a:lnTo>
                  <a:lnTo>
                    <a:pt x="7283" y="1207"/>
                  </a:lnTo>
                  <a:lnTo>
                    <a:pt x="7290" y="1187"/>
                  </a:lnTo>
                  <a:lnTo>
                    <a:pt x="7297" y="1169"/>
                  </a:lnTo>
                  <a:lnTo>
                    <a:pt x="7314" y="1135"/>
                  </a:lnTo>
                  <a:lnTo>
                    <a:pt x="7323" y="1118"/>
                  </a:lnTo>
                  <a:lnTo>
                    <a:pt x="7334" y="1104"/>
                  </a:lnTo>
                  <a:lnTo>
                    <a:pt x="7359" y="1078"/>
                  </a:lnTo>
                  <a:lnTo>
                    <a:pt x="7386" y="1058"/>
                  </a:lnTo>
                  <a:lnTo>
                    <a:pt x="7416" y="1043"/>
                  </a:lnTo>
                  <a:lnTo>
                    <a:pt x="7431" y="1037"/>
                  </a:lnTo>
                  <a:lnTo>
                    <a:pt x="7447" y="1034"/>
                  </a:lnTo>
                  <a:lnTo>
                    <a:pt x="7481" y="1031"/>
                  </a:lnTo>
                  <a:lnTo>
                    <a:pt x="7506" y="1032"/>
                  </a:lnTo>
                  <a:lnTo>
                    <a:pt x="7530" y="1037"/>
                  </a:lnTo>
                  <a:lnTo>
                    <a:pt x="7551" y="1045"/>
                  </a:lnTo>
                  <a:lnTo>
                    <a:pt x="7570" y="1056"/>
                  </a:lnTo>
                  <a:lnTo>
                    <a:pt x="7588" y="1069"/>
                  </a:lnTo>
                  <a:lnTo>
                    <a:pt x="7602" y="1086"/>
                  </a:lnTo>
                  <a:lnTo>
                    <a:pt x="7615" y="1106"/>
                  </a:lnTo>
                  <a:lnTo>
                    <a:pt x="7621" y="1116"/>
                  </a:lnTo>
                  <a:lnTo>
                    <a:pt x="7625" y="1127"/>
                  </a:lnTo>
                  <a:lnTo>
                    <a:pt x="7638" y="1165"/>
                  </a:lnTo>
                  <a:lnTo>
                    <a:pt x="7645" y="1211"/>
                  </a:lnTo>
                  <a:lnTo>
                    <a:pt x="7650" y="1268"/>
                  </a:lnTo>
                  <a:lnTo>
                    <a:pt x="7651" y="1342"/>
                  </a:lnTo>
                  <a:lnTo>
                    <a:pt x="7651" y="1938"/>
                  </a:lnTo>
                  <a:lnTo>
                    <a:pt x="7993" y="1938"/>
                  </a:lnTo>
                  <a:lnTo>
                    <a:pt x="7993" y="1364"/>
                  </a:lnTo>
                  <a:lnTo>
                    <a:pt x="7993" y="1325"/>
                  </a:lnTo>
                  <a:lnTo>
                    <a:pt x="7996" y="1287"/>
                  </a:lnTo>
                  <a:lnTo>
                    <a:pt x="8000" y="1253"/>
                  </a:lnTo>
                  <a:lnTo>
                    <a:pt x="8006" y="1221"/>
                  </a:lnTo>
                  <a:lnTo>
                    <a:pt x="8014" y="1191"/>
                  </a:lnTo>
                  <a:lnTo>
                    <a:pt x="8023" y="1164"/>
                  </a:lnTo>
                  <a:lnTo>
                    <a:pt x="8034" y="1138"/>
                  </a:lnTo>
                  <a:lnTo>
                    <a:pt x="8046" y="1116"/>
                  </a:lnTo>
                  <a:lnTo>
                    <a:pt x="8061" y="1096"/>
                  </a:lnTo>
                  <a:lnTo>
                    <a:pt x="8078" y="1079"/>
                  </a:lnTo>
                  <a:lnTo>
                    <a:pt x="8095" y="1064"/>
                  </a:lnTo>
                  <a:lnTo>
                    <a:pt x="8114" y="1052"/>
                  </a:lnTo>
                  <a:lnTo>
                    <a:pt x="8135" y="1043"/>
                  </a:lnTo>
                  <a:lnTo>
                    <a:pt x="8158" y="1036"/>
                  </a:lnTo>
                  <a:lnTo>
                    <a:pt x="8182" y="1032"/>
                  </a:lnTo>
                  <a:lnTo>
                    <a:pt x="8208" y="1031"/>
                  </a:lnTo>
                  <a:lnTo>
                    <a:pt x="8238" y="1032"/>
                  </a:lnTo>
                  <a:lnTo>
                    <a:pt x="8264" y="1037"/>
                  </a:lnTo>
                  <a:lnTo>
                    <a:pt x="8289" y="1046"/>
                  </a:lnTo>
                  <a:lnTo>
                    <a:pt x="8310" y="1058"/>
                  </a:lnTo>
                  <a:lnTo>
                    <a:pt x="8320" y="1066"/>
                  </a:lnTo>
                  <a:lnTo>
                    <a:pt x="8329" y="1075"/>
                  </a:lnTo>
                  <a:lnTo>
                    <a:pt x="8336" y="1084"/>
                  </a:lnTo>
                  <a:lnTo>
                    <a:pt x="8343" y="1095"/>
                  </a:lnTo>
                  <a:lnTo>
                    <a:pt x="8356" y="1118"/>
                  </a:lnTo>
                  <a:lnTo>
                    <a:pt x="8365" y="1146"/>
                  </a:lnTo>
                  <a:lnTo>
                    <a:pt x="8370" y="1178"/>
                  </a:lnTo>
                  <a:lnTo>
                    <a:pt x="8374" y="1219"/>
                  </a:lnTo>
                  <a:lnTo>
                    <a:pt x="8376" y="1268"/>
                  </a:lnTo>
                  <a:lnTo>
                    <a:pt x="8377" y="1324"/>
                  </a:lnTo>
                  <a:lnTo>
                    <a:pt x="8377" y="1938"/>
                  </a:lnTo>
                  <a:lnTo>
                    <a:pt x="8720" y="1938"/>
                  </a:lnTo>
                  <a:close/>
                  <a:moveTo>
                    <a:pt x="2622" y="369"/>
                  </a:moveTo>
                  <a:lnTo>
                    <a:pt x="2584" y="372"/>
                  </a:lnTo>
                  <a:lnTo>
                    <a:pt x="2566" y="376"/>
                  </a:lnTo>
                  <a:lnTo>
                    <a:pt x="2549" y="382"/>
                  </a:lnTo>
                  <a:lnTo>
                    <a:pt x="2534" y="390"/>
                  </a:lnTo>
                  <a:lnTo>
                    <a:pt x="2519" y="399"/>
                  </a:lnTo>
                  <a:lnTo>
                    <a:pt x="2494" y="421"/>
                  </a:lnTo>
                  <a:lnTo>
                    <a:pt x="2483" y="434"/>
                  </a:lnTo>
                  <a:lnTo>
                    <a:pt x="2473" y="450"/>
                  </a:lnTo>
                  <a:lnTo>
                    <a:pt x="2465" y="465"/>
                  </a:lnTo>
                  <a:lnTo>
                    <a:pt x="2458" y="483"/>
                  </a:lnTo>
                  <a:lnTo>
                    <a:pt x="2453" y="502"/>
                  </a:lnTo>
                  <a:lnTo>
                    <a:pt x="2449" y="521"/>
                  </a:lnTo>
                  <a:lnTo>
                    <a:pt x="2446" y="542"/>
                  </a:lnTo>
                  <a:lnTo>
                    <a:pt x="2446" y="564"/>
                  </a:lnTo>
                  <a:lnTo>
                    <a:pt x="2446" y="757"/>
                  </a:lnTo>
                  <a:lnTo>
                    <a:pt x="2692" y="757"/>
                  </a:lnTo>
                  <a:lnTo>
                    <a:pt x="2692" y="1027"/>
                  </a:lnTo>
                  <a:lnTo>
                    <a:pt x="2446" y="1027"/>
                  </a:lnTo>
                  <a:lnTo>
                    <a:pt x="2446" y="1483"/>
                  </a:lnTo>
                  <a:lnTo>
                    <a:pt x="2446" y="1938"/>
                  </a:lnTo>
                  <a:lnTo>
                    <a:pt x="2107" y="1938"/>
                  </a:lnTo>
                  <a:lnTo>
                    <a:pt x="2107" y="1483"/>
                  </a:lnTo>
                  <a:lnTo>
                    <a:pt x="2107" y="1027"/>
                  </a:lnTo>
                  <a:lnTo>
                    <a:pt x="1950" y="1027"/>
                  </a:lnTo>
                  <a:lnTo>
                    <a:pt x="1950" y="757"/>
                  </a:lnTo>
                  <a:lnTo>
                    <a:pt x="2107" y="757"/>
                  </a:lnTo>
                  <a:lnTo>
                    <a:pt x="2107" y="595"/>
                  </a:lnTo>
                  <a:lnTo>
                    <a:pt x="2110" y="501"/>
                  </a:lnTo>
                  <a:lnTo>
                    <a:pt x="2115" y="454"/>
                  </a:lnTo>
                  <a:lnTo>
                    <a:pt x="2122" y="407"/>
                  </a:lnTo>
                  <a:lnTo>
                    <a:pt x="2126" y="385"/>
                  </a:lnTo>
                  <a:lnTo>
                    <a:pt x="2130" y="363"/>
                  </a:lnTo>
                  <a:lnTo>
                    <a:pt x="2144" y="320"/>
                  </a:lnTo>
                  <a:lnTo>
                    <a:pt x="2152" y="299"/>
                  </a:lnTo>
                  <a:lnTo>
                    <a:pt x="2160" y="278"/>
                  </a:lnTo>
                  <a:lnTo>
                    <a:pt x="2182" y="240"/>
                  </a:lnTo>
                  <a:lnTo>
                    <a:pt x="2207" y="203"/>
                  </a:lnTo>
                  <a:lnTo>
                    <a:pt x="2222" y="186"/>
                  </a:lnTo>
                  <a:lnTo>
                    <a:pt x="2238" y="171"/>
                  </a:lnTo>
                  <a:lnTo>
                    <a:pt x="2255" y="156"/>
                  </a:lnTo>
                  <a:lnTo>
                    <a:pt x="2274" y="142"/>
                  </a:lnTo>
                  <a:lnTo>
                    <a:pt x="2316" y="118"/>
                  </a:lnTo>
                  <a:lnTo>
                    <a:pt x="2339" y="108"/>
                  </a:lnTo>
                  <a:lnTo>
                    <a:pt x="2365" y="99"/>
                  </a:lnTo>
                  <a:lnTo>
                    <a:pt x="2391" y="90"/>
                  </a:lnTo>
                  <a:lnTo>
                    <a:pt x="2419" y="83"/>
                  </a:lnTo>
                  <a:lnTo>
                    <a:pt x="2449" y="79"/>
                  </a:lnTo>
                  <a:lnTo>
                    <a:pt x="2481" y="74"/>
                  </a:lnTo>
                  <a:lnTo>
                    <a:pt x="2516" y="72"/>
                  </a:lnTo>
                  <a:lnTo>
                    <a:pt x="2551" y="71"/>
                  </a:lnTo>
                  <a:lnTo>
                    <a:pt x="2615" y="73"/>
                  </a:lnTo>
                  <a:lnTo>
                    <a:pt x="2668" y="79"/>
                  </a:lnTo>
                  <a:lnTo>
                    <a:pt x="2721" y="88"/>
                  </a:lnTo>
                  <a:lnTo>
                    <a:pt x="2782" y="100"/>
                  </a:lnTo>
                  <a:lnTo>
                    <a:pt x="2782" y="390"/>
                  </a:lnTo>
                  <a:lnTo>
                    <a:pt x="2717" y="375"/>
                  </a:lnTo>
                  <a:lnTo>
                    <a:pt x="2676" y="371"/>
                  </a:lnTo>
                  <a:lnTo>
                    <a:pt x="2622" y="369"/>
                  </a:lnTo>
                  <a:close/>
                  <a:moveTo>
                    <a:pt x="1447" y="1554"/>
                  </a:moveTo>
                  <a:lnTo>
                    <a:pt x="1649" y="1903"/>
                  </a:lnTo>
                  <a:lnTo>
                    <a:pt x="1599" y="1930"/>
                  </a:lnTo>
                  <a:lnTo>
                    <a:pt x="1549" y="1955"/>
                  </a:lnTo>
                  <a:lnTo>
                    <a:pt x="1498" y="1976"/>
                  </a:lnTo>
                  <a:lnTo>
                    <a:pt x="1446" y="1995"/>
                  </a:lnTo>
                  <a:lnTo>
                    <a:pt x="1394" y="2010"/>
                  </a:lnTo>
                  <a:lnTo>
                    <a:pt x="1342" y="2024"/>
                  </a:lnTo>
                  <a:lnTo>
                    <a:pt x="1288" y="2035"/>
                  </a:lnTo>
                  <a:lnTo>
                    <a:pt x="1235" y="2042"/>
                  </a:lnTo>
                  <a:lnTo>
                    <a:pt x="1183" y="2047"/>
                  </a:lnTo>
                  <a:lnTo>
                    <a:pt x="1130" y="2050"/>
                  </a:lnTo>
                  <a:lnTo>
                    <a:pt x="1076" y="2050"/>
                  </a:lnTo>
                  <a:lnTo>
                    <a:pt x="1023" y="2048"/>
                  </a:lnTo>
                  <a:lnTo>
                    <a:pt x="971" y="2042"/>
                  </a:lnTo>
                  <a:lnTo>
                    <a:pt x="919" y="2036"/>
                  </a:lnTo>
                  <a:lnTo>
                    <a:pt x="866" y="2026"/>
                  </a:lnTo>
                  <a:lnTo>
                    <a:pt x="815" y="2012"/>
                  </a:lnTo>
                  <a:lnTo>
                    <a:pt x="764" y="1998"/>
                  </a:lnTo>
                  <a:lnTo>
                    <a:pt x="714" y="1981"/>
                  </a:lnTo>
                  <a:lnTo>
                    <a:pt x="690" y="1971"/>
                  </a:lnTo>
                  <a:lnTo>
                    <a:pt x="665" y="1961"/>
                  </a:lnTo>
                  <a:lnTo>
                    <a:pt x="618" y="1939"/>
                  </a:lnTo>
                  <a:lnTo>
                    <a:pt x="570" y="1915"/>
                  </a:lnTo>
                  <a:lnTo>
                    <a:pt x="524" y="1888"/>
                  </a:lnTo>
                  <a:lnTo>
                    <a:pt x="480" y="1859"/>
                  </a:lnTo>
                  <a:lnTo>
                    <a:pt x="436" y="1828"/>
                  </a:lnTo>
                  <a:lnTo>
                    <a:pt x="394" y="1795"/>
                  </a:lnTo>
                  <a:lnTo>
                    <a:pt x="353" y="1759"/>
                  </a:lnTo>
                  <a:lnTo>
                    <a:pt x="314" y="1721"/>
                  </a:lnTo>
                  <a:lnTo>
                    <a:pt x="278" y="1681"/>
                  </a:lnTo>
                  <a:lnTo>
                    <a:pt x="242" y="1639"/>
                  </a:lnTo>
                  <a:lnTo>
                    <a:pt x="209" y="1596"/>
                  </a:lnTo>
                  <a:lnTo>
                    <a:pt x="177" y="1549"/>
                  </a:lnTo>
                  <a:lnTo>
                    <a:pt x="148" y="1502"/>
                  </a:lnTo>
                  <a:lnTo>
                    <a:pt x="120" y="1452"/>
                  </a:lnTo>
                  <a:lnTo>
                    <a:pt x="97" y="1400"/>
                  </a:lnTo>
                  <a:lnTo>
                    <a:pt x="74" y="1349"/>
                  </a:lnTo>
                  <a:lnTo>
                    <a:pt x="55" y="1298"/>
                  </a:lnTo>
                  <a:lnTo>
                    <a:pt x="40" y="1246"/>
                  </a:lnTo>
                  <a:lnTo>
                    <a:pt x="27" y="1193"/>
                  </a:lnTo>
                  <a:lnTo>
                    <a:pt x="17" y="1141"/>
                  </a:lnTo>
                  <a:lnTo>
                    <a:pt x="8" y="1087"/>
                  </a:lnTo>
                  <a:lnTo>
                    <a:pt x="3" y="1034"/>
                  </a:lnTo>
                  <a:lnTo>
                    <a:pt x="0" y="981"/>
                  </a:lnTo>
                  <a:lnTo>
                    <a:pt x="0" y="928"/>
                  </a:lnTo>
                  <a:lnTo>
                    <a:pt x="2" y="875"/>
                  </a:lnTo>
                  <a:lnTo>
                    <a:pt x="8" y="822"/>
                  </a:lnTo>
                  <a:lnTo>
                    <a:pt x="15" y="770"/>
                  </a:lnTo>
                  <a:lnTo>
                    <a:pt x="25" y="718"/>
                  </a:lnTo>
                  <a:lnTo>
                    <a:pt x="38" y="667"/>
                  </a:lnTo>
                  <a:lnTo>
                    <a:pt x="52" y="616"/>
                  </a:lnTo>
                  <a:lnTo>
                    <a:pt x="70" y="566"/>
                  </a:lnTo>
                  <a:lnTo>
                    <a:pt x="79" y="542"/>
                  </a:lnTo>
                  <a:lnTo>
                    <a:pt x="89" y="517"/>
                  </a:lnTo>
                  <a:lnTo>
                    <a:pt x="111" y="470"/>
                  </a:lnTo>
                  <a:lnTo>
                    <a:pt x="135" y="422"/>
                  </a:lnTo>
                  <a:lnTo>
                    <a:pt x="162" y="376"/>
                  </a:lnTo>
                  <a:lnTo>
                    <a:pt x="191" y="332"/>
                  </a:lnTo>
                  <a:lnTo>
                    <a:pt x="222" y="289"/>
                  </a:lnTo>
                  <a:lnTo>
                    <a:pt x="255" y="246"/>
                  </a:lnTo>
                  <a:lnTo>
                    <a:pt x="291" y="205"/>
                  </a:lnTo>
                  <a:lnTo>
                    <a:pt x="329" y="166"/>
                  </a:lnTo>
                  <a:lnTo>
                    <a:pt x="369" y="130"/>
                  </a:lnTo>
                  <a:lnTo>
                    <a:pt x="411" y="94"/>
                  </a:lnTo>
                  <a:lnTo>
                    <a:pt x="455" y="61"/>
                  </a:lnTo>
                  <a:lnTo>
                    <a:pt x="501" y="29"/>
                  </a:lnTo>
                  <a:lnTo>
                    <a:pt x="550" y="0"/>
                  </a:lnTo>
                  <a:lnTo>
                    <a:pt x="825" y="74"/>
                  </a:lnTo>
                  <a:lnTo>
                    <a:pt x="751" y="349"/>
                  </a:lnTo>
                  <a:lnTo>
                    <a:pt x="720" y="369"/>
                  </a:lnTo>
                  <a:lnTo>
                    <a:pt x="690" y="389"/>
                  </a:lnTo>
                  <a:lnTo>
                    <a:pt x="661" y="411"/>
                  </a:lnTo>
                  <a:lnTo>
                    <a:pt x="634" y="434"/>
                  </a:lnTo>
                  <a:lnTo>
                    <a:pt x="608" y="459"/>
                  </a:lnTo>
                  <a:lnTo>
                    <a:pt x="584" y="484"/>
                  </a:lnTo>
                  <a:lnTo>
                    <a:pt x="540" y="537"/>
                  </a:lnTo>
                  <a:lnTo>
                    <a:pt x="520" y="565"/>
                  </a:lnTo>
                  <a:lnTo>
                    <a:pt x="502" y="594"/>
                  </a:lnTo>
                  <a:lnTo>
                    <a:pt x="485" y="624"/>
                  </a:lnTo>
                  <a:lnTo>
                    <a:pt x="470" y="655"/>
                  </a:lnTo>
                  <a:lnTo>
                    <a:pt x="455" y="686"/>
                  </a:lnTo>
                  <a:lnTo>
                    <a:pt x="443" y="717"/>
                  </a:lnTo>
                  <a:lnTo>
                    <a:pt x="424" y="782"/>
                  </a:lnTo>
                  <a:lnTo>
                    <a:pt x="410" y="848"/>
                  </a:lnTo>
                  <a:lnTo>
                    <a:pt x="403" y="915"/>
                  </a:lnTo>
                  <a:lnTo>
                    <a:pt x="401" y="948"/>
                  </a:lnTo>
                  <a:lnTo>
                    <a:pt x="401" y="982"/>
                  </a:lnTo>
                  <a:lnTo>
                    <a:pt x="403" y="1015"/>
                  </a:lnTo>
                  <a:lnTo>
                    <a:pt x="406" y="1048"/>
                  </a:lnTo>
                  <a:lnTo>
                    <a:pt x="411" y="1082"/>
                  </a:lnTo>
                  <a:lnTo>
                    <a:pt x="418" y="1115"/>
                  </a:lnTo>
                  <a:lnTo>
                    <a:pt x="426" y="1147"/>
                  </a:lnTo>
                  <a:lnTo>
                    <a:pt x="435" y="1179"/>
                  </a:lnTo>
                  <a:lnTo>
                    <a:pt x="448" y="1211"/>
                  </a:lnTo>
                  <a:lnTo>
                    <a:pt x="460" y="1242"/>
                  </a:lnTo>
                  <a:lnTo>
                    <a:pt x="475" y="1273"/>
                  </a:lnTo>
                  <a:lnTo>
                    <a:pt x="491" y="1303"/>
                  </a:lnTo>
                  <a:lnTo>
                    <a:pt x="509" y="1332"/>
                  </a:lnTo>
                  <a:lnTo>
                    <a:pt x="528" y="1359"/>
                  </a:lnTo>
                  <a:lnTo>
                    <a:pt x="570" y="1412"/>
                  </a:lnTo>
                  <a:lnTo>
                    <a:pt x="593" y="1436"/>
                  </a:lnTo>
                  <a:lnTo>
                    <a:pt x="618" y="1459"/>
                  </a:lnTo>
                  <a:lnTo>
                    <a:pt x="643" y="1482"/>
                  </a:lnTo>
                  <a:lnTo>
                    <a:pt x="669" y="1503"/>
                  </a:lnTo>
                  <a:lnTo>
                    <a:pt x="724" y="1540"/>
                  </a:lnTo>
                  <a:lnTo>
                    <a:pt x="753" y="1557"/>
                  </a:lnTo>
                  <a:lnTo>
                    <a:pt x="783" y="1573"/>
                  </a:lnTo>
                  <a:lnTo>
                    <a:pt x="844" y="1600"/>
                  </a:lnTo>
                  <a:lnTo>
                    <a:pt x="876" y="1612"/>
                  </a:lnTo>
                  <a:lnTo>
                    <a:pt x="909" y="1622"/>
                  </a:lnTo>
                  <a:lnTo>
                    <a:pt x="974" y="1636"/>
                  </a:lnTo>
                  <a:lnTo>
                    <a:pt x="1007" y="1642"/>
                  </a:lnTo>
                  <a:lnTo>
                    <a:pt x="1042" y="1645"/>
                  </a:lnTo>
                  <a:lnTo>
                    <a:pt x="1075" y="1647"/>
                  </a:lnTo>
                  <a:lnTo>
                    <a:pt x="1110" y="1647"/>
                  </a:lnTo>
                  <a:lnTo>
                    <a:pt x="1144" y="1646"/>
                  </a:lnTo>
                  <a:lnTo>
                    <a:pt x="1178" y="1643"/>
                  </a:lnTo>
                  <a:lnTo>
                    <a:pt x="1213" y="1638"/>
                  </a:lnTo>
                  <a:lnTo>
                    <a:pt x="1246" y="1632"/>
                  </a:lnTo>
                  <a:lnTo>
                    <a:pt x="1281" y="1624"/>
                  </a:lnTo>
                  <a:lnTo>
                    <a:pt x="1315" y="1614"/>
                  </a:lnTo>
                  <a:lnTo>
                    <a:pt x="1348" y="1602"/>
                  </a:lnTo>
                  <a:lnTo>
                    <a:pt x="1382" y="1587"/>
                  </a:lnTo>
                  <a:lnTo>
                    <a:pt x="1415" y="1572"/>
                  </a:lnTo>
                  <a:lnTo>
                    <a:pt x="1447" y="1554"/>
                  </a:lnTo>
                  <a:close/>
                  <a:moveTo>
                    <a:pt x="565" y="1259"/>
                  </a:moveTo>
                  <a:lnTo>
                    <a:pt x="598" y="1309"/>
                  </a:lnTo>
                  <a:lnTo>
                    <a:pt x="634" y="1356"/>
                  </a:lnTo>
                  <a:lnTo>
                    <a:pt x="676" y="1398"/>
                  </a:lnTo>
                  <a:lnTo>
                    <a:pt x="721" y="1435"/>
                  </a:lnTo>
                  <a:lnTo>
                    <a:pt x="745" y="1453"/>
                  </a:lnTo>
                  <a:lnTo>
                    <a:pt x="770" y="1468"/>
                  </a:lnTo>
                  <a:lnTo>
                    <a:pt x="821" y="1497"/>
                  </a:lnTo>
                  <a:lnTo>
                    <a:pt x="847" y="1509"/>
                  </a:lnTo>
                  <a:lnTo>
                    <a:pt x="875" y="1520"/>
                  </a:lnTo>
                  <a:lnTo>
                    <a:pt x="932" y="1539"/>
                  </a:lnTo>
                  <a:lnTo>
                    <a:pt x="990" y="1553"/>
                  </a:lnTo>
                  <a:lnTo>
                    <a:pt x="1049" y="1560"/>
                  </a:lnTo>
                  <a:lnTo>
                    <a:pt x="1108" y="1563"/>
                  </a:lnTo>
                  <a:lnTo>
                    <a:pt x="1168" y="1558"/>
                  </a:lnTo>
                  <a:lnTo>
                    <a:pt x="1228" y="1548"/>
                  </a:lnTo>
                  <a:lnTo>
                    <a:pt x="1288" y="1533"/>
                  </a:lnTo>
                  <a:lnTo>
                    <a:pt x="1347" y="1509"/>
                  </a:lnTo>
                  <a:lnTo>
                    <a:pt x="1405" y="1480"/>
                  </a:lnTo>
                  <a:lnTo>
                    <a:pt x="1460" y="1445"/>
                  </a:lnTo>
                  <a:lnTo>
                    <a:pt x="1485" y="1426"/>
                  </a:lnTo>
                  <a:lnTo>
                    <a:pt x="1508" y="1405"/>
                  </a:lnTo>
                  <a:lnTo>
                    <a:pt x="1553" y="1362"/>
                  </a:lnTo>
                  <a:lnTo>
                    <a:pt x="1592" y="1314"/>
                  </a:lnTo>
                  <a:lnTo>
                    <a:pt x="1625" y="1264"/>
                  </a:lnTo>
                  <a:lnTo>
                    <a:pt x="1639" y="1237"/>
                  </a:lnTo>
                  <a:lnTo>
                    <a:pt x="1653" y="1211"/>
                  </a:lnTo>
                  <a:lnTo>
                    <a:pt x="1665" y="1184"/>
                  </a:lnTo>
                  <a:lnTo>
                    <a:pt x="1676" y="1156"/>
                  </a:lnTo>
                  <a:lnTo>
                    <a:pt x="1693" y="1099"/>
                  </a:lnTo>
                  <a:lnTo>
                    <a:pt x="1705" y="1042"/>
                  </a:lnTo>
                  <a:lnTo>
                    <a:pt x="1709" y="1013"/>
                  </a:lnTo>
                  <a:lnTo>
                    <a:pt x="1712" y="983"/>
                  </a:lnTo>
                  <a:lnTo>
                    <a:pt x="1713" y="924"/>
                  </a:lnTo>
                  <a:lnTo>
                    <a:pt x="1708" y="866"/>
                  </a:lnTo>
                  <a:lnTo>
                    <a:pt x="1697" y="807"/>
                  </a:lnTo>
                  <a:lnTo>
                    <a:pt x="1682" y="751"/>
                  </a:lnTo>
                  <a:lnTo>
                    <a:pt x="1661" y="696"/>
                  </a:lnTo>
                  <a:lnTo>
                    <a:pt x="1634" y="643"/>
                  </a:lnTo>
                  <a:lnTo>
                    <a:pt x="1602" y="593"/>
                  </a:lnTo>
                  <a:lnTo>
                    <a:pt x="1564" y="547"/>
                  </a:lnTo>
                  <a:lnTo>
                    <a:pt x="1523" y="505"/>
                  </a:lnTo>
                  <a:lnTo>
                    <a:pt x="1501" y="485"/>
                  </a:lnTo>
                  <a:lnTo>
                    <a:pt x="1478" y="467"/>
                  </a:lnTo>
                  <a:lnTo>
                    <a:pt x="1454" y="450"/>
                  </a:lnTo>
                  <a:lnTo>
                    <a:pt x="1430" y="434"/>
                  </a:lnTo>
                  <a:lnTo>
                    <a:pt x="1378" y="405"/>
                  </a:lnTo>
                  <a:lnTo>
                    <a:pt x="1352" y="393"/>
                  </a:lnTo>
                  <a:lnTo>
                    <a:pt x="1324" y="382"/>
                  </a:lnTo>
                  <a:lnTo>
                    <a:pt x="1268" y="363"/>
                  </a:lnTo>
                  <a:lnTo>
                    <a:pt x="1240" y="356"/>
                  </a:lnTo>
                  <a:lnTo>
                    <a:pt x="1211" y="350"/>
                  </a:lnTo>
                  <a:lnTo>
                    <a:pt x="1181" y="345"/>
                  </a:lnTo>
                  <a:lnTo>
                    <a:pt x="1152" y="342"/>
                  </a:lnTo>
                  <a:lnTo>
                    <a:pt x="1092" y="340"/>
                  </a:lnTo>
                  <a:lnTo>
                    <a:pt x="1031" y="344"/>
                  </a:lnTo>
                  <a:lnTo>
                    <a:pt x="971" y="354"/>
                  </a:lnTo>
                  <a:lnTo>
                    <a:pt x="911" y="370"/>
                  </a:lnTo>
                  <a:lnTo>
                    <a:pt x="881" y="381"/>
                  </a:lnTo>
                  <a:lnTo>
                    <a:pt x="852" y="393"/>
                  </a:lnTo>
                  <a:lnTo>
                    <a:pt x="823" y="406"/>
                  </a:lnTo>
                  <a:lnTo>
                    <a:pt x="794" y="423"/>
                  </a:lnTo>
                  <a:lnTo>
                    <a:pt x="766" y="440"/>
                  </a:lnTo>
                  <a:lnTo>
                    <a:pt x="740" y="457"/>
                  </a:lnTo>
                  <a:lnTo>
                    <a:pt x="714" y="476"/>
                  </a:lnTo>
                  <a:lnTo>
                    <a:pt x="691" y="497"/>
                  </a:lnTo>
                  <a:lnTo>
                    <a:pt x="646" y="541"/>
                  </a:lnTo>
                  <a:lnTo>
                    <a:pt x="609" y="589"/>
                  </a:lnTo>
                  <a:lnTo>
                    <a:pt x="574" y="639"/>
                  </a:lnTo>
                  <a:lnTo>
                    <a:pt x="560" y="664"/>
                  </a:lnTo>
                  <a:lnTo>
                    <a:pt x="546" y="692"/>
                  </a:lnTo>
                  <a:lnTo>
                    <a:pt x="534" y="718"/>
                  </a:lnTo>
                  <a:lnTo>
                    <a:pt x="524" y="746"/>
                  </a:lnTo>
                  <a:lnTo>
                    <a:pt x="506" y="803"/>
                  </a:lnTo>
                  <a:lnTo>
                    <a:pt x="494" y="861"/>
                  </a:lnTo>
                  <a:lnTo>
                    <a:pt x="488" y="920"/>
                  </a:lnTo>
                  <a:lnTo>
                    <a:pt x="486" y="978"/>
                  </a:lnTo>
                  <a:lnTo>
                    <a:pt x="491" y="1037"/>
                  </a:lnTo>
                  <a:lnTo>
                    <a:pt x="495" y="1066"/>
                  </a:lnTo>
                  <a:lnTo>
                    <a:pt x="501" y="1095"/>
                  </a:lnTo>
                  <a:lnTo>
                    <a:pt x="516" y="1152"/>
                  </a:lnTo>
                  <a:lnTo>
                    <a:pt x="538" y="1207"/>
                  </a:lnTo>
                  <a:lnTo>
                    <a:pt x="565" y="12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0" name="Freeform 8"/>
            <p:cNvSpPr>
              <a:spLocks/>
            </p:cNvSpPr>
            <p:nvPr userDrawn="1"/>
          </p:nvSpPr>
          <p:spPr bwMode="auto">
            <a:xfrm>
              <a:off x="10176312" y="5785848"/>
              <a:ext cx="730621" cy="426079"/>
            </a:xfrm>
            <a:custGeom>
              <a:avLst/>
              <a:gdLst>
                <a:gd name="T0" fmla="*/ 0 w 5232"/>
                <a:gd name="T1" fmla="*/ 3051 h 3051"/>
                <a:gd name="T2" fmla="*/ 653 w 5232"/>
                <a:gd name="T3" fmla="*/ 3051 h 3051"/>
                <a:gd name="T4" fmla="*/ 1307 w 5232"/>
                <a:gd name="T5" fmla="*/ 3051 h 3051"/>
                <a:gd name="T6" fmla="*/ 1962 w 5232"/>
                <a:gd name="T7" fmla="*/ 3051 h 3051"/>
                <a:gd name="T8" fmla="*/ 2616 w 5232"/>
                <a:gd name="T9" fmla="*/ 3051 h 3051"/>
                <a:gd name="T10" fmla="*/ 3269 w 5232"/>
                <a:gd name="T11" fmla="*/ 3051 h 3051"/>
                <a:gd name="T12" fmla="*/ 3923 w 5232"/>
                <a:gd name="T13" fmla="*/ 3051 h 3051"/>
                <a:gd name="T14" fmla="*/ 4578 w 5232"/>
                <a:gd name="T15" fmla="*/ 3051 h 3051"/>
                <a:gd name="T16" fmla="*/ 5232 w 5232"/>
                <a:gd name="T17" fmla="*/ 3051 h 3051"/>
                <a:gd name="T18" fmla="*/ 5232 w 5232"/>
                <a:gd name="T19" fmla="*/ 2288 h 3051"/>
                <a:gd name="T20" fmla="*/ 5232 w 5232"/>
                <a:gd name="T21" fmla="*/ 1525 h 3051"/>
                <a:gd name="T22" fmla="*/ 5232 w 5232"/>
                <a:gd name="T23" fmla="*/ 762 h 3051"/>
                <a:gd name="T24" fmla="*/ 5232 w 5232"/>
                <a:gd name="T25" fmla="*/ 0 h 3051"/>
                <a:gd name="T26" fmla="*/ 4578 w 5232"/>
                <a:gd name="T27" fmla="*/ 0 h 3051"/>
                <a:gd name="T28" fmla="*/ 3923 w 5232"/>
                <a:gd name="T29" fmla="*/ 0 h 3051"/>
                <a:gd name="T30" fmla="*/ 3269 w 5232"/>
                <a:gd name="T31" fmla="*/ 0 h 3051"/>
                <a:gd name="T32" fmla="*/ 2616 w 5232"/>
                <a:gd name="T33" fmla="*/ 0 h 3051"/>
                <a:gd name="T34" fmla="*/ 1962 w 5232"/>
                <a:gd name="T35" fmla="*/ 0 h 3051"/>
                <a:gd name="T36" fmla="*/ 1307 w 5232"/>
                <a:gd name="T37" fmla="*/ 0 h 3051"/>
                <a:gd name="T38" fmla="*/ 653 w 5232"/>
                <a:gd name="T39" fmla="*/ 0 h 3051"/>
                <a:gd name="T40" fmla="*/ 0 w 5232"/>
                <a:gd name="T41" fmla="*/ 0 h 3051"/>
                <a:gd name="T42" fmla="*/ 0 w 5232"/>
                <a:gd name="T43" fmla="*/ 762 h 3051"/>
                <a:gd name="T44" fmla="*/ 0 w 5232"/>
                <a:gd name="T45" fmla="*/ 1525 h 3051"/>
                <a:gd name="T46" fmla="*/ 0 w 5232"/>
                <a:gd name="T47" fmla="*/ 2288 h 3051"/>
                <a:gd name="T48" fmla="*/ 0 w 5232"/>
                <a:gd name="T49" fmla="*/ 3051 h 3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32" h="3051">
                  <a:moveTo>
                    <a:pt x="0" y="3051"/>
                  </a:moveTo>
                  <a:lnTo>
                    <a:pt x="653" y="3051"/>
                  </a:lnTo>
                  <a:lnTo>
                    <a:pt x="1307" y="3051"/>
                  </a:lnTo>
                  <a:lnTo>
                    <a:pt x="1962" y="3051"/>
                  </a:lnTo>
                  <a:lnTo>
                    <a:pt x="2616" y="3051"/>
                  </a:lnTo>
                  <a:lnTo>
                    <a:pt x="3269" y="3051"/>
                  </a:lnTo>
                  <a:lnTo>
                    <a:pt x="3923" y="3051"/>
                  </a:lnTo>
                  <a:lnTo>
                    <a:pt x="4578" y="3051"/>
                  </a:lnTo>
                  <a:lnTo>
                    <a:pt x="5232" y="3051"/>
                  </a:lnTo>
                  <a:lnTo>
                    <a:pt x="5232" y="2288"/>
                  </a:lnTo>
                  <a:lnTo>
                    <a:pt x="5232" y="1525"/>
                  </a:lnTo>
                  <a:lnTo>
                    <a:pt x="5232" y="762"/>
                  </a:lnTo>
                  <a:lnTo>
                    <a:pt x="5232" y="0"/>
                  </a:lnTo>
                  <a:lnTo>
                    <a:pt x="4578" y="0"/>
                  </a:lnTo>
                  <a:lnTo>
                    <a:pt x="3923" y="0"/>
                  </a:lnTo>
                  <a:lnTo>
                    <a:pt x="3269" y="0"/>
                  </a:lnTo>
                  <a:lnTo>
                    <a:pt x="2616" y="0"/>
                  </a:lnTo>
                  <a:lnTo>
                    <a:pt x="1962" y="0"/>
                  </a:lnTo>
                  <a:lnTo>
                    <a:pt x="1307" y="0"/>
                  </a:lnTo>
                  <a:lnTo>
                    <a:pt x="653" y="0"/>
                  </a:lnTo>
                  <a:lnTo>
                    <a:pt x="0" y="0"/>
                  </a:lnTo>
                  <a:lnTo>
                    <a:pt x="0" y="762"/>
                  </a:lnTo>
                  <a:lnTo>
                    <a:pt x="0" y="1525"/>
                  </a:lnTo>
                  <a:lnTo>
                    <a:pt x="0" y="2288"/>
                  </a:lnTo>
                  <a:lnTo>
                    <a:pt x="0" y="3051"/>
                  </a:lnTo>
                  <a:close/>
                </a:path>
              </a:pathLst>
            </a:custGeom>
            <a:solidFill>
              <a:srgbClr val="377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1" name="Freeform 9"/>
            <p:cNvSpPr>
              <a:spLocks noEditPoints="1"/>
            </p:cNvSpPr>
            <p:nvPr userDrawn="1"/>
          </p:nvSpPr>
          <p:spPr bwMode="auto">
            <a:xfrm>
              <a:off x="10293658" y="5873858"/>
              <a:ext cx="491737" cy="272412"/>
            </a:xfrm>
            <a:custGeom>
              <a:avLst/>
              <a:gdLst>
                <a:gd name="T0" fmla="*/ 278 w 3517"/>
                <a:gd name="T1" fmla="*/ 1564 h 1954"/>
                <a:gd name="T2" fmla="*/ 190 w 3517"/>
                <a:gd name="T3" fmla="*/ 1377 h 1954"/>
                <a:gd name="T4" fmla="*/ 466 w 3517"/>
                <a:gd name="T5" fmla="*/ 1198 h 1954"/>
                <a:gd name="T6" fmla="*/ 105 w 3517"/>
                <a:gd name="T7" fmla="*/ 1218 h 1954"/>
                <a:gd name="T8" fmla="*/ 22 w 3517"/>
                <a:gd name="T9" fmla="*/ 1558 h 1954"/>
                <a:gd name="T10" fmla="*/ 508 w 3517"/>
                <a:gd name="T11" fmla="*/ 903 h 1954"/>
                <a:gd name="T12" fmla="*/ 824 w 3517"/>
                <a:gd name="T13" fmla="*/ 1318 h 1954"/>
                <a:gd name="T14" fmla="*/ 1034 w 3517"/>
                <a:gd name="T15" fmla="*/ 1269 h 1954"/>
                <a:gd name="T16" fmla="*/ 800 w 3517"/>
                <a:gd name="T17" fmla="*/ 1165 h 1954"/>
                <a:gd name="T18" fmla="*/ 1476 w 3517"/>
                <a:gd name="T19" fmla="*/ 1679 h 1954"/>
                <a:gd name="T20" fmla="*/ 1372 w 3517"/>
                <a:gd name="T21" fmla="*/ 1161 h 1954"/>
                <a:gd name="T22" fmla="*/ 1104 w 3517"/>
                <a:gd name="T23" fmla="*/ 1333 h 1954"/>
                <a:gd name="T24" fmla="*/ 1201 w 3517"/>
                <a:gd name="T25" fmla="*/ 1684 h 1954"/>
                <a:gd name="T26" fmla="*/ 1288 w 3517"/>
                <a:gd name="T27" fmla="*/ 1514 h 1954"/>
                <a:gd name="T28" fmla="*/ 1370 w 3517"/>
                <a:gd name="T29" fmla="*/ 1318 h 1954"/>
                <a:gd name="T30" fmla="*/ 1506 w 3517"/>
                <a:gd name="T31" fmla="*/ 1482 h 1954"/>
                <a:gd name="T32" fmla="*/ 1977 w 3517"/>
                <a:gd name="T33" fmla="*/ 1198 h 1954"/>
                <a:gd name="T34" fmla="*/ 1980 w 3517"/>
                <a:gd name="T35" fmla="*/ 1323 h 1954"/>
                <a:gd name="T36" fmla="*/ 2300 w 3517"/>
                <a:gd name="T37" fmla="*/ 1364 h 1954"/>
                <a:gd name="T38" fmla="*/ 2142 w 3517"/>
                <a:gd name="T39" fmla="*/ 1162 h 1954"/>
                <a:gd name="T40" fmla="*/ 2902 w 3517"/>
                <a:gd name="T41" fmla="*/ 1848 h 1954"/>
                <a:gd name="T42" fmla="*/ 2659 w 3517"/>
                <a:gd name="T43" fmla="*/ 1168 h 1954"/>
                <a:gd name="T44" fmla="*/ 2361 w 3517"/>
                <a:gd name="T45" fmla="*/ 1305 h 1954"/>
                <a:gd name="T46" fmla="*/ 2418 w 3517"/>
                <a:gd name="T47" fmla="*/ 1656 h 1954"/>
                <a:gd name="T48" fmla="*/ 2734 w 3517"/>
                <a:gd name="T49" fmla="*/ 1666 h 1954"/>
                <a:gd name="T50" fmla="*/ 2605 w 3517"/>
                <a:gd name="T51" fmla="*/ 1790 h 1954"/>
                <a:gd name="T52" fmla="*/ 2549 w 3517"/>
                <a:gd name="T53" fmla="*/ 1532 h 1954"/>
                <a:gd name="T54" fmla="*/ 2599 w 3517"/>
                <a:gd name="T55" fmla="*/ 1323 h 1954"/>
                <a:gd name="T56" fmla="*/ 2756 w 3517"/>
                <a:gd name="T57" fmla="*/ 1468 h 1954"/>
                <a:gd name="T58" fmla="*/ 3141 w 3517"/>
                <a:gd name="T59" fmla="*/ 1179 h 1954"/>
                <a:gd name="T60" fmla="*/ 2975 w 3517"/>
                <a:gd name="T61" fmla="*/ 1475 h 1954"/>
                <a:gd name="T62" fmla="*/ 3206 w 3517"/>
                <a:gd name="T63" fmla="*/ 1719 h 1954"/>
                <a:gd name="T64" fmla="*/ 3308 w 3517"/>
                <a:gd name="T65" fmla="*/ 1577 h 1954"/>
                <a:gd name="T66" fmla="*/ 3512 w 3517"/>
                <a:gd name="T67" fmla="*/ 1376 h 1954"/>
                <a:gd name="T68" fmla="*/ 3284 w 3517"/>
                <a:gd name="T69" fmla="*/ 1161 h 1954"/>
                <a:gd name="T70" fmla="*/ 3150 w 3517"/>
                <a:gd name="T71" fmla="*/ 1336 h 1954"/>
                <a:gd name="T72" fmla="*/ 253 w 3517"/>
                <a:gd name="T73" fmla="*/ 744 h 1954"/>
                <a:gd name="T74" fmla="*/ 99 w 3517"/>
                <a:gd name="T75" fmla="*/ 630 h 1954"/>
                <a:gd name="T76" fmla="*/ 854 w 3517"/>
                <a:gd name="T77" fmla="*/ 734 h 1954"/>
                <a:gd name="T78" fmla="*/ 486 w 3517"/>
                <a:gd name="T79" fmla="*/ 790 h 1954"/>
                <a:gd name="T80" fmla="*/ 341 w 3517"/>
                <a:gd name="T81" fmla="*/ 463 h 1954"/>
                <a:gd name="T82" fmla="*/ 630 w 3517"/>
                <a:gd name="T83" fmla="*/ 255 h 1954"/>
                <a:gd name="T84" fmla="*/ 920 w 3517"/>
                <a:gd name="T85" fmla="*/ 463 h 1954"/>
                <a:gd name="T86" fmla="*/ 643 w 3517"/>
                <a:gd name="T87" fmla="*/ 662 h 1954"/>
                <a:gd name="T88" fmla="*/ 733 w 3517"/>
                <a:gd name="T89" fmla="*/ 465 h 1954"/>
                <a:gd name="T90" fmla="*/ 516 w 3517"/>
                <a:gd name="T91" fmla="*/ 488 h 1954"/>
                <a:gd name="T92" fmla="*/ 1555 w 3517"/>
                <a:gd name="T93" fmla="*/ 440 h 1954"/>
                <a:gd name="T94" fmla="*/ 1383 w 3517"/>
                <a:gd name="T95" fmla="*/ 484 h 1954"/>
                <a:gd name="T96" fmla="*/ 1550 w 3517"/>
                <a:gd name="T97" fmla="*/ 255 h 1954"/>
                <a:gd name="T98" fmla="*/ 1745 w 3517"/>
                <a:gd name="T99" fmla="*/ 422 h 1954"/>
                <a:gd name="T100" fmla="*/ 2184 w 3517"/>
                <a:gd name="T101" fmla="*/ 799 h 1954"/>
                <a:gd name="T102" fmla="*/ 2062 w 3517"/>
                <a:gd name="T103" fmla="*/ 60 h 1954"/>
                <a:gd name="T104" fmla="*/ 2760 w 3517"/>
                <a:gd name="T105" fmla="*/ 258 h 1954"/>
                <a:gd name="T106" fmla="*/ 2927 w 3517"/>
                <a:gd name="T107" fmla="*/ 448 h 1954"/>
                <a:gd name="T108" fmla="*/ 2627 w 3517"/>
                <a:gd name="T109" fmla="*/ 412 h 1954"/>
                <a:gd name="T110" fmla="*/ 3128 w 3517"/>
                <a:gd name="T111" fmla="*/ 592 h 1954"/>
                <a:gd name="T112" fmla="*/ 3386 w 3517"/>
                <a:gd name="T113" fmla="*/ 645 h 1954"/>
                <a:gd name="T114" fmla="*/ 3124 w 3517"/>
                <a:gd name="T115" fmla="*/ 796 h 1954"/>
                <a:gd name="T116" fmla="*/ 2965 w 3517"/>
                <a:gd name="T117" fmla="*/ 492 h 1954"/>
                <a:gd name="T118" fmla="*/ 3213 w 3517"/>
                <a:gd name="T119" fmla="*/ 258 h 1954"/>
                <a:gd name="T120" fmla="*/ 3483 w 3517"/>
                <a:gd name="T121" fmla="*/ 402 h 1954"/>
                <a:gd name="T122" fmla="*/ 3257 w 3517"/>
                <a:gd name="T123" fmla="*/ 382 h 1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17" h="1954">
                  <a:moveTo>
                    <a:pt x="296" y="1724"/>
                  </a:moveTo>
                  <a:lnTo>
                    <a:pt x="309" y="1724"/>
                  </a:lnTo>
                  <a:lnTo>
                    <a:pt x="322" y="1724"/>
                  </a:lnTo>
                  <a:lnTo>
                    <a:pt x="336" y="1723"/>
                  </a:lnTo>
                  <a:lnTo>
                    <a:pt x="349" y="1720"/>
                  </a:lnTo>
                  <a:lnTo>
                    <a:pt x="361" y="1719"/>
                  </a:lnTo>
                  <a:lnTo>
                    <a:pt x="373" y="1717"/>
                  </a:lnTo>
                  <a:lnTo>
                    <a:pt x="398" y="1710"/>
                  </a:lnTo>
                  <a:lnTo>
                    <a:pt x="421" y="1704"/>
                  </a:lnTo>
                  <a:lnTo>
                    <a:pt x="432" y="1699"/>
                  </a:lnTo>
                  <a:lnTo>
                    <a:pt x="443" y="1695"/>
                  </a:lnTo>
                  <a:lnTo>
                    <a:pt x="466" y="1684"/>
                  </a:lnTo>
                  <a:lnTo>
                    <a:pt x="487" y="1673"/>
                  </a:lnTo>
                  <a:lnTo>
                    <a:pt x="416" y="1534"/>
                  </a:lnTo>
                  <a:lnTo>
                    <a:pt x="403" y="1540"/>
                  </a:lnTo>
                  <a:lnTo>
                    <a:pt x="391" y="1547"/>
                  </a:lnTo>
                  <a:lnTo>
                    <a:pt x="379" y="1553"/>
                  </a:lnTo>
                  <a:lnTo>
                    <a:pt x="372" y="1555"/>
                  </a:lnTo>
                  <a:lnTo>
                    <a:pt x="366" y="1557"/>
                  </a:lnTo>
                  <a:lnTo>
                    <a:pt x="351" y="1560"/>
                  </a:lnTo>
                  <a:lnTo>
                    <a:pt x="343" y="1563"/>
                  </a:lnTo>
                  <a:lnTo>
                    <a:pt x="336" y="1564"/>
                  </a:lnTo>
                  <a:lnTo>
                    <a:pt x="328" y="1565"/>
                  </a:lnTo>
                  <a:lnTo>
                    <a:pt x="320" y="1565"/>
                  </a:lnTo>
                  <a:lnTo>
                    <a:pt x="303" y="1566"/>
                  </a:lnTo>
                  <a:lnTo>
                    <a:pt x="290" y="1565"/>
                  </a:lnTo>
                  <a:lnTo>
                    <a:pt x="278" y="1564"/>
                  </a:lnTo>
                  <a:lnTo>
                    <a:pt x="266" y="1560"/>
                  </a:lnTo>
                  <a:lnTo>
                    <a:pt x="253" y="1557"/>
                  </a:lnTo>
                  <a:lnTo>
                    <a:pt x="242" y="1553"/>
                  </a:lnTo>
                  <a:lnTo>
                    <a:pt x="232" y="1547"/>
                  </a:lnTo>
                  <a:lnTo>
                    <a:pt x="222" y="1540"/>
                  </a:lnTo>
                  <a:lnTo>
                    <a:pt x="217" y="1537"/>
                  </a:lnTo>
                  <a:lnTo>
                    <a:pt x="212" y="1534"/>
                  </a:lnTo>
                  <a:lnTo>
                    <a:pt x="203" y="1525"/>
                  </a:lnTo>
                  <a:lnTo>
                    <a:pt x="197" y="1516"/>
                  </a:lnTo>
                  <a:lnTo>
                    <a:pt x="192" y="1510"/>
                  </a:lnTo>
                  <a:lnTo>
                    <a:pt x="190" y="1505"/>
                  </a:lnTo>
                  <a:lnTo>
                    <a:pt x="183" y="1495"/>
                  </a:lnTo>
                  <a:lnTo>
                    <a:pt x="181" y="1488"/>
                  </a:lnTo>
                  <a:lnTo>
                    <a:pt x="179" y="1483"/>
                  </a:lnTo>
                  <a:lnTo>
                    <a:pt x="178" y="1476"/>
                  </a:lnTo>
                  <a:lnTo>
                    <a:pt x="176" y="1469"/>
                  </a:lnTo>
                  <a:lnTo>
                    <a:pt x="175" y="1463"/>
                  </a:lnTo>
                  <a:lnTo>
                    <a:pt x="175" y="1456"/>
                  </a:lnTo>
                  <a:lnTo>
                    <a:pt x="173" y="1449"/>
                  </a:lnTo>
                  <a:lnTo>
                    <a:pt x="173" y="1442"/>
                  </a:lnTo>
                  <a:lnTo>
                    <a:pt x="173" y="1434"/>
                  </a:lnTo>
                  <a:lnTo>
                    <a:pt x="175" y="1427"/>
                  </a:lnTo>
                  <a:lnTo>
                    <a:pt x="176" y="1414"/>
                  </a:lnTo>
                  <a:lnTo>
                    <a:pt x="178" y="1407"/>
                  </a:lnTo>
                  <a:lnTo>
                    <a:pt x="179" y="1401"/>
                  </a:lnTo>
                  <a:lnTo>
                    <a:pt x="183" y="1388"/>
                  </a:lnTo>
                  <a:lnTo>
                    <a:pt x="190" y="1377"/>
                  </a:lnTo>
                  <a:lnTo>
                    <a:pt x="192" y="1373"/>
                  </a:lnTo>
                  <a:lnTo>
                    <a:pt x="197" y="1367"/>
                  </a:lnTo>
                  <a:lnTo>
                    <a:pt x="200" y="1363"/>
                  </a:lnTo>
                  <a:lnTo>
                    <a:pt x="203" y="1358"/>
                  </a:lnTo>
                  <a:lnTo>
                    <a:pt x="208" y="1354"/>
                  </a:lnTo>
                  <a:lnTo>
                    <a:pt x="212" y="1349"/>
                  </a:lnTo>
                  <a:lnTo>
                    <a:pt x="222" y="1343"/>
                  </a:lnTo>
                  <a:lnTo>
                    <a:pt x="232" y="1336"/>
                  </a:lnTo>
                  <a:lnTo>
                    <a:pt x="242" y="1331"/>
                  </a:lnTo>
                  <a:lnTo>
                    <a:pt x="248" y="1328"/>
                  </a:lnTo>
                  <a:lnTo>
                    <a:pt x="253" y="1326"/>
                  </a:lnTo>
                  <a:lnTo>
                    <a:pt x="266" y="1322"/>
                  </a:lnTo>
                  <a:lnTo>
                    <a:pt x="271" y="1321"/>
                  </a:lnTo>
                  <a:lnTo>
                    <a:pt x="278" y="1319"/>
                  </a:lnTo>
                  <a:lnTo>
                    <a:pt x="290" y="1318"/>
                  </a:lnTo>
                  <a:lnTo>
                    <a:pt x="303" y="1317"/>
                  </a:lnTo>
                  <a:lnTo>
                    <a:pt x="320" y="1318"/>
                  </a:lnTo>
                  <a:lnTo>
                    <a:pt x="328" y="1318"/>
                  </a:lnTo>
                  <a:lnTo>
                    <a:pt x="336" y="1319"/>
                  </a:lnTo>
                  <a:lnTo>
                    <a:pt x="351" y="1322"/>
                  </a:lnTo>
                  <a:lnTo>
                    <a:pt x="366" y="1326"/>
                  </a:lnTo>
                  <a:lnTo>
                    <a:pt x="379" y="1331"/>
                  </a:lnTo>
                  <a:lnTo>
                    <a:pt x="391" y="1336"/>
                  </a:lnTo>
                  <a:lnTo>
                    <a:pt x="403" y="1343"/>
                  </a:lnTo>
                  <a:lnTo>
                    <a:pt x="416" y="1349"/>
                  </a:lnTo>
                  <a:lnTo>
                    <a:pt x="487" y="1211"/>
                  </a:lnTo>
                  <a:lnTo>
                    <a:pt x="466" y="1198"/>
                  </a:lnTo>
                  <a:lnTo>
                    <a:pt x="443" y="1188"/>
                  </a:lnTo>
                  <a:lnTo>
                    <a:pt x="432" y="1184"/>
                  </a:lnTo>
                  <a:lnTo>
                    <a:pt x="421" y="1179"/>
                  </a:lnTo>
                  <a:lnTo>
                    <a:pt x="409" y="1176"/>
                  </a:lnTo>
                  <a:lnTo>
                    <a:pt x="398" y="1172"/>
                  </a:lnTo>
                  <a:lnTo>
                    <a:pt x="386" y="1169"/>
                  </a:lnTo>
                  <a:lnTo>
                    <a:pt x="373" y="1166"/>
                  </a:lnTo>
                  <a:lnTo>
                    <a:pt x="361" y="1164"/>
                  </a:lnTo>
                  <a:lnTo>
                    <a:pt x="349" y="1163"/>
                  </a:lnTo>
                  <a:lnTo>
                    <a:pt x="336" y="1161"/>
                  </a:lnTo>
                  <a:lnTo>
                    <a:pt x="322" y="1160"/>
                  </a:lnTo>
                  <a:lnTo>
                    <a:pt x="296" y="1158"/>
                  </a:lnTo>
                  <a:lnTo>
                    <a:pt x="279" y="1160"/>
                  </a:lnTo>
                  <a:lnTo>
                    <a:pt x="263" y="1161"/>
                  </a:lnTo>
                  <a:lnTo>
                    <a:pt x="249" y="1162"/>
                  </a:lnTo>
                  <a:lnTo>
                    <a:pt x="233" y="1164"/>
                  </a:lnTo>
                  <a:lnTo>
                    <a:pt x="219" y="1167"/>
                  </a:lnTo>
                  <a:lnTo>
                    <a:pt x="205" y="1171"/>
                  </a:lnTo>
                  <a:lnTo>
                    <a:pt x="198" y="1172"/>
                  </a:lnTo>
                  <a:lnTo>
                    <a:pt x="191" y="1174"/>
                  </a:lnTo>
                  <a:lnTo>
                    <a:pt x="177" y="1179"/>
                  </a:lnTo>
                  <a:lnTo>
                    <a:pt x="165" y="1184"/>
                  </a:lnTo>
                  <a:lnTo>
                    <a:pt x="151" y="1189"/>
                  </a:lnTo>
                  <a:lnTo>
                    <a:pt x="139" y="1196"/>
                  </a:lnTo>
                  <a:lnTo>
                    <a:pt x="127" y="1203"/>
                  </a:lnTo>
                  <a:lnTo>
                    <a:pt x="116" y="1211"/>
                  </a:lnTo>
                  <a:lnTo>
                    <a:pt x="105" y="1218"/>
                  </a:lnTo>
                  <a:lnTo>
                    <a:pt x="94" y="1227"/>
                  </a:lnTo>
                  <a:lnTo>
                    <a:pt x="84" y="1236"/>
                  </a:lnTo>
                  <a:lnTo>
                    <a:pt x="75" y="1245"/>
                  </a:lnTo>
                  <a:lnTo>
                    <a:pt x="65" y="1255"/>
                  </a:lnTo>
                  <a:lnTo>
                    <a:pt x="57" y="1266"/>
                  </a:lnTo>
                  <a:lnTo>
                    <a:pt x="48" y="1277"/>
                  </a:lnTo>
                  <a:lnTo>
                    <a:pt x="41" y="1288"/>
                  </a:lnTo>
                  <a:lnTo>
                    <a:pt x="35" y="1301"/>
                  </a:lnTo>
                  <a:lnTo>
                    <a:pt x="28" y="1313"/>
                  </a:lnTo>
                  <a:lnTo>
                    <a:pt x="22" y="1325"/>
                  </a:lnTo>
                  <a:lnTo>
                    <a:pt x="17" y="1338"/>
                  </a:lnTo>
                  <a:lnTo>
                    <a:pt x="12" y="1352"/>
                  </a:lnTo>
                  <a:lnTo>
                    <a:pt x="9" y="1366"/>
                  </a:lnTo>
                  <a:lnTo>
                    <a:pt x="6" y="1381"/>
                  </a:lnTo>
                  <a:lnTo>
                    <a:pt x="4" y="1395"/>
                  </a:lnTo>
                  <a:lnTo>
                    <a:pt x="2" y="1403"/>
                  </a:lnTo>
                  <a:lnTo>
                    <a:pt x="1" y="1411"/>
                  </a:lnTo>
                  <a:lnTo>
                    <a:pt x="0" y="1426"/>
                  </a:lnTo>
                  <a:lnTo>
                    <a:pt x="0" y="1442"/>
                  </a:lnTo>
                  <a:lnTo>
                    <a:pt x="0" y="1457"/>
                  </a:lnTo>
                  <a:lnTo>
                    <a:pt x="1" y="1473"/>
                  </a:lnTo>
                  <a:lnTo>
                    <a:pt x="4" y="1488"/>
                  </a:lnTo>
                  <a:lnTo>
                    <a:pt x="6" y="1503"/>
                  </a:lnTo>
                  <a:lnTo>
                    <a:pt x="9" y="1517"/>
                  </a:lnTo>
                  <a:lnTo>
                    <a:pt x="12" y="1532"/>
                  </a:lnTo>
                  <a:lnTo>
                    <a:pt x="17" y="1545"/>
                  </a:lnTo>
                  <a:lnTo>
                    <a:pt x="22" y="1558"/>
                  </a:lnTo>
                  <a:lnTo>
                    <a:pt x="25" y="1565"/>
                  </a:lnTo>
                  <a:lnTo>
                    <a:pt x="28" y="1570"/>
                  </a:lnTo>
                  <a:lnTo>
                    <a:pt x="35" y="1583"/>
                  </a:lnTo>
                  <a:lnTo>
                    <a:pt x="41" y="1595"/>
                  </a:lnTo>
                  <a:lnTo>
                    <a:pt x="48" y="1606"/>
                  </a:lnTo>
                  <a:lnTo>
                    <a:pt x="57" y="1617"/>
                  </a:lnTo>
                  <a:lnTo>
                    <a:pt x="65" y="1627"/>
                  </a:lnTo>
                  <a:lnTo>
                    <a:pt x="75" y="1637"/>
                  </a:lnTo>
                  <a:lnTo>
                    <a:pt x="84" y="1647"/>
                  </a:lnTo>
                  <a:lnTo>
                    <a:pt x="94" y="1656"/>
                  </a:lnTo>
                  <a:lnTo>
                    <a:pt x="105" y="1665"/>
                  </a:lnTo>
                  <a:lnTo>
                    <a:pt x="116" y="1673"/>
                  </a:lnTo>
                  <a:lnTo>
                    <a:pt x="127" y="1680"/>
                  </a:lnTo>
                  <a:lnTo>
                    <a:pt x="139" y="1687"/>
                  </a:lnTo>
                  <a:lnTo>
                    <a:pt x="151" y="1693"/>
                  </a:lnTo>
                  <a:lnTo>
                    <a:pt x="165" y="1699"/>
                  </a:lnTo>
                  <a:lnTo>
                    <a:pt x="177" y="1704"/>
                  </a:lnTo>
                  <a:lnTo>
                    <a:pt x="191" y="1708"/>
                  </a:lnTo>
                  <a:lnTo>
                    <a:pt x="205" y="1713"/>
                  </a:lnTo>
                  <a:lnTo>
                    <a:pt x="219" y="1716"/>
                  </a:lnTo>
                  <a:lnTo>
                    <a:pt x="233" y="1719"/>
                  </a:lnTo>
                  <a:lnTo>
                    <a:pt x="249" y="1722"/>
                  </a:lnTo>
                  <a:lnTo>
                    <a:pt x="263" y="1723"/>
                  </a:lnTo>
                  <a:lnTo>
                    <a:pt x="279" y="1724"/>
                  </a:lnTo>
                  <a:lnTo>
                    <a:pt x="296" y="1724"/>
                  </a:lnTo>
                  <a:close/>
                  <a:moveTo>
                    <a:pt x="681" y="903"/>
                  </a:moveTo>
                  <a:lnTo>
                    <a:pt x="508" y="903"/>
                  </a:lnTo>
                  <a:lnTo>
                    <a:pt x="508" y="1707"/>
                  </a:lnTo>
                  <a:lnTo>
                    <a:pt x="681" y="1707"/>
                  </a:lnTo>
                  <a:lnTo>
                    <a:pt x="681" y="1441"/>
                  </a:lnTo>
                  <a:lnTo>
                    <a:pt x="681" y="1424"/>
                  </a:lnTo>
                  <a:lnTo>
                    <a:pt x="683" y="1408"/>
                  </a:lnTo>
                  <a:lnTo>
                    <a:pt x="684" y="1401"/>
                  </a:lnTo>
                  <a:lnTo>
                    <a:pt x="686" y="1394"/>
                  </a:lnTo>
                  <a:lnTo>
                    <a:pt x="687" y="1387"/>
                  </a:lnTo>
                  <a:lnTo>
                    <a:pt x="689" y="1381"/>
                  </a:lnTo>
                  <a:lnTo>
                    <a:pt x="693" y="1368"/>
                  </a:lnTo>
                  <a:lnTo>
                    <a:pt x="698" y="1358"/>
                  </a:lnTo>
                  <a:lnTo>
                    <a:pt x="701" y="1354"/>
                  </a:lnTo>
                  <a:lnTo>
                    <a:pt x="703" y="1349"/>
                  </a:lnTo>
                  <a:lnTo>
                    <a:pt x="707" y="1345"/>
                  </a:lnTo>
                  <a:lnTo>
                    <a:pt x="710" y="1341"/>
                  </a:lnTo>
                  <a:lnTo>
                    <a:pt x="718" y="1334"/>
                  </a:lnTo>
                  <a:lnTo>
                    <a:pt x="726" y="1327"/>
                  </a:lnTo>
                  <a:lnTo>
                    <a:pt x="733" y="1323"/>
                  </a:lnTo>
                  <a:lnTo>
                    <a:pt x="742" y="1318"/>
                  </a:lnTo>
                  <a:lnTo>
                    <a:pt x="752" y="1315"/>
                  </a:lnTo>
                  <a:lnTo>
                    <a:pt x="762" y="1314"/>
                  </a:lnTo>
                  <a:lnTo>
                    <a:pt x="772" y="1312"/>
                  </a:lnTo>
                  <a:lnTo>
                    <a:pt x="783" y="1312"/>
                  </a:lnTo>
                  <a:lnTo>
                    <a:pt x="794" y="1312"/>
                  </a:lnTo>
                  <a:lnTo>
                    <a:pt x="806" y="1314"/>
                  </a:lnTo>
                  <a:lnTo>
                    <a:pt x="816" y="1315"/>
                  </a:lnTo>
                  <a:lnTo>
                    <a:pt x="824" y="1318"/>
                  </a:lnTo>
                  <a:lnTo>
                    <a:pt x="833" y="1323"/>
                  </a:lnTo>
                  <a:lnTo>
                    <a:pt x="841" y="1327"/>
                  </a:lnTo>
                  <a:lnTo>
                    <a:pt x="849" y="1333"/>
                  </a:lnTo>
                  <a:lnTo>
                    <a:pt x="852" y="1336"/>
                  </a:lnTo>
                  <a:lnTo>
                    <a:pt x="856" y="1339"/>
                  </a:lnTo>
                  <a:lnTo>
                    <a:pt x="861" y="1347"/>
                  </a:lnTo>
                  <a:lnTo>
                    <a:pt x="865" y="1355"/>
                  </a:lnTo>
                  <a:lnTo>
                    <a:pt x="868" y="1361"/>
                  </a:lnTo>
                  <a:lnTo>
                    <a:pt x="870" y="1365"/>
                  </a:lnTo>
                  <a:lnTo>
                    <a:pt x="872" y="1369"/>
                  </a:lnTo>
                  <a:lnTo>
                    <a:pt x="873" y="1375"/>
                  </a:lnTo>
                  <a:lnTo>
                    <a:pt x="877" y="1386"/>
                  </a:lnTo>
                  <a:lnTo>
                    <a:pt x="878" y="1399"/>
                  </a:lnTo>
                  <a:lnTo>
                    <a:pt x="879" y="1413"/>
                  </a:lnTo>
                  <a:lnTo>
                    <a:pt x="880" y="1426"/>
                  </a:lnTo>
                  <a:lnTo>
                    <a:pt x="880" y="1707"/>
                  </a:lnTo>
                  <a:lnTo>
                    <a:pt x="1053" y="1707"/>
                  </a:lnTo>
                  <a:lnTo>
                    <a:pt x="1053" y="1378"/>
                  </a:lnTo>
                  <a:lnTo>
                    <a:pt x="1053" y="1364"/>
                  </a:lnTo>
                  <a:lnTo>
                    <a:pt x="1052" y="1351"/>
                  </a:lnTo>
                  <a:lnTo>
                    <a:pt x="1051" y="1338"/>
                  </a:lnTo>
                  <a:lnTo>
                    <a:pt x="1050" y="1325"/>
                  </a:lnTo>
                  <a:lnTo>
                    <a:pt x="1048" y="1314"/>
                  </a:lnTo>
                  <a:lnTo>
                    <a:pt x="1044" y="1302"/>
                  </a:lnTo>
                  <a:lnTo>
                    <a:pt x="1042" y="1291"/>
                  </a:lnTo>
                  <a:lnTo>
                    <a:pt x="1039" y="1281"/>
                  </a:lnTo>
                  <a:lnTo>
                    <a:pt x="1034" y="1269"/>
                  </a:lnTo>
                  <a:lnTo>
                    <a:pt x="1031" y="1261"/>
                  </a:lnTo>
                  <a:lnTo>
                    <a:pt x="1025" y="1251"/>
                  </a:lnTo>
                  <a:lnTo>
                    <a:pt x="1021" y="1243"/>
                  </a:lnTo>
                  <a:lnTo>
                    <a:pt x="1015" y="1234"/>
                  </a:lnTo>
                  <a:lnTo>
                    <a:pt x="1010" y="1226"/>
                  </a:lnTo>
                  <a:lnTo>
                    <a:pt x="1003" y="1218"/>
                  </a:lnTo>
                  <a:lnTo>
                    <a:pt x="998" y="1212"/>
                  </a:lnTo>
                  <a:lnTo>
                    <a:pt x="990" y="1205"/>
                  </a:lnTo>
                  <a:lnTo>
                    <a:pt x="983" y="1199"/>
                  </a:lnTo>
                  <a:lnTo>
                    <a:pt x="975" y="1194"/>
                  </a:lnTo>
                  <a:lnTo>
                    <a:pt x="968" y="1188"/>
                  </a:lnTo>
                  <a:lnTo>
                    <a:pt x="960" y="1184"/>
                  </a:lnTo>
                  <a:lnTo>
                    <a:pt x="952" y="1179"/>
                  </a:lnTo>
                  <a:lnTo>
                    <a:pt x="943" y="1175"/>
                  </a:lnTo>
                  <a:lnTo>
                    <a:pt x="934" y="1172"/>
                  </a:lnTo>
                  <a:lnTo>
                    <a:pt x="924" y="1168"/>
                  </a:lnTo>
                  <a:lnTo>
                    <a:pt x="915" y="1166"/>
                  </a:lnTo>
                  <a:lnTo>
                    <a:pt x="905" y="1164"/>
                  </a:lnTo>
                  <a:lnTo>
                    <a:pt x="895" y="1162"/>
                  </a:lnTo>
                  <a:lnTo>
                    <a:pt x="885" y="1161"/>
                  </a:lnTo>
                  <a:lnTo>
                    <a:pt x="874" y="1160"/>
                  </a:lnTo>
                  <a:lnTo>
                    <a:pt x="864" y="1160"/>
                  </a:lnTo>
                  <a:lnTo>
                    <a:pt x="853" y="1158"/>
                  </a:lnTo>
                  <a:lnTo>
                    <a:pt x="839" y="1160"/>
                  </a:lnTo>
                  <a:lnTo>
                    <a:pt x="826" y="1161"/>
                  </a:lnTo>
                  <a:lnTo>
                    <a:pt x="812" y="1162"/>
                  </a:lnTo>
                  <a:lnTo>
                    <a:pt x="800" y="1165"/>
                  </a:lnTo>
                  <a:lnTo>
                    <a:pt x="788" y="1167"/>
                  </a:lnTo>
                  <a:lnTo>
                    <a:pt x="776" y="1172"/>
                  </a:lnTo>
                  <a:lnTo>
                    <a:pt x="764" y="1176"/>
                  </a:lnTo>
                  <a:lnTo>
                    <a:pt x="753" y="1182"/>
                  </a:lnTo>
                  <a:lnTo>
                    <a:pt x="743" y="1187"/>
                  </a:lnTo>
                  <a:lnTo>
                    <a:pt x="733" y="1194"/>
                  </a:lnTo>
                  <a:lnTo>
                    <a:pt x="723" y="1201"/>
                  </a:lnTo>
                  <a:lnTo>
                    <a:pt x="714" y="1208"/>
                  </a:lnTo>
                  <a:lnTo>
                    <a:pt x="706" y="1217"/>
                  </a:lnTo>
                  <a:lnTo>
                    <a:pt x="702" y="1222"/>
                  </a:lnTo>
                  <a:lnTo>
                    <a:pt x="698" y="1226"/>
                  </a:lnTo>
                  <a:lnTo>
                    <a:pt x="690" y="1236"/>
                  </a:lnTo>
                  <a:lnTo>
                    <a:pt x="683" y="1246"/>
                  </a:lnTo>
                  <a:lnTo>
                    <a:pt x="681" y="1246"/>
                  </a:lnTo>
                  <a:lnTo>
                    <a:pt x="681" y="903"/>
                  </a:lnTo>
                  <a:close/>
                  <a:moveTo>
                    <a:pt x="1341" y="1724"/>
                  </a:moveTo>
                  <a:lnTo>
                    <a:pt x="1356" y="1724"/>
                  </a:lnTo>
                  <a:lnTo>
                    <a:pt x="1372" y="1723"/>
                  </a:lnTo>
                  <a:lnTo>
                    <a:pt x="1386" y="1720"/>
                  </a:lnTo>
                  <a:lnTo>
                    <a:pt x="1400" y="1718"/>
                  </a:lnTo>
                  <a:lnTo>
                    <a:pt x="1412" y="1714"/>
                  </a:lnTo>
                  <a:lnTo>
                    <a:pt x="1424" y="1710"/>
                  </a:lnTo>
                  <a:lnTo>
                    <a:pt x="1436" y="1705"/>
                  </a:lnTo>
                  <a:lnTo>
                    <a:pt x="1448" y="1699"/>
                  </a:lnTo>
                  <a:lnTo>
                    <a:pt x="1458" y="1694"/>
                  </a:lnTo>
                  <a:lnTo>
                    <a:pt x="1468" y="1687"/>
                  </a:lnTo>
                  <a:lnTo>
                    <a:pt x="1476" y="1679"/>
                  </a:lnTo>
                  <a:lnTo>
                    <a:pt x="1485" y="1672"/>
                  </a:lnTo>
                  <a:lnTo>
                    <a:pt x="1493" y="1663"/>
                  </a:lnTo>
                  <a:lnTo>
                    <a:pt x="1501" y="1654"/>
                  </a:lnTo>
                  <a:lnTo>
                    <a:pt x="1508" y="1645"/>
                  </a:lnTo>
                  <a:lnTo>
                    <a:pt x="1514" y="1635"/>
                  </a:lnTo>
                  <a:lnTo>
                    <a:pt x="1516" y="1635"/>
                  </a:lnTo>
                  <a:lnTo>
                    <a:pt x="1516" y="1707"/>
                  </a:lnTo>
                  <a:lnTo>
                    <a:pt x="1690" y="1707"/>
                  </a:lnTo>
                  <a:lnTo>
                    <a:pt x="1690" y="1176"/>
                  </a:lnTo>
                  <a:lnTo>
                    <a:pt x="1516" y="1176"/>
                  </a:lnTo>
                  <a:lnTo>
                    <a:pt x="1516" y="1248"/>
                  </a:lnTo>
                  <a:lnTo>
                    <a:pt x="1514" y="1248"/>
                  </a:lnTo>
                  <a:lnTo>
                    <a:pt x="1508" y="1238"/>
                  </a:lnTo>
                  <a:lnTo>
                    <a:pt x="1501" y="1229"/>
                  </a:lnTo>
                  <a:lnTo>
                    <a:pt x="1493" y="1221"/>
                  </a:lnTo>
                  <a:lnTo>
                    <a:pt x="1485" y="1212"/>
                  </a:lnTo>
                  <a:lnTo>
                    <a:pt x="1476" y="1204"/>
                  </a:lnTo>
                  <a:lnTo>
                    <a:pt x="1468" y="1196"/>
                  </a:lnTo>
                  <a:lnTo>
                    <a:pt x="1463" y="1193"/>
                  </a:lnTo>
                  <a:lnTo>
                    <a:pt x="1458" y="1189"/>
                  </a:lnTo>
                  <a:lnTo>
                    <a:pt x="1448" y="1184"/>
                  </a:lnTo>
                  <a:lnTo>
                    <a:pt x="1436" y="1178"/>
                  </a:lnTo>
                  <a:lnTo>
                    <a:pt x="1424" y="1173"/>
                  </a:lnTo>
                  <a:lnTo>
                    <a:pt x="1412" y="1168"/>
                  </a:lnTo>
                  <a:lnTo>
                    <a:pt x="1400" y="1165"/>
                  </a:lnTo>
                  <a:lnTo>
                    <a:pt x="1386" y="1163"/>
                  </a:lnTo>
                  <a:lnTo>
                    <a:pt x="1372" y="1161"/>
                  </a:lnTo>
                  <a:lnTo>
                    <a:pt x="1356" y="1160"/>
                  </a:lnTo>
                  <a:lnTo>
                    <a:pt x="1341" y="1158"/>
                  </a:lnTo>
                  <a:lnTo>
                    <a:pt x="1328" y="1160"/>
                  </a:lnTo>
                  <a:lnTo>
                    <a:pt x="1315" y="1160"/>
                  </a:lnTo>
                  <a:lnTo>
                    <a:pt x="1303" y="1162"/>
                  </a:lnTo>
                  <a:lnTo>
                    <a:pt x="1291" y="1164"/>
                  </a:lnTo>
                  <a:lnTo>
                    <a:pt x="1279" y="1166"/>
                  </a:lnTo>
                  <a:lnTo>
                    <a:pt x="1266" y="1169"/>
                  </a:lnTo>
                  <a:lnTo>
                    <a:pt x="1254" y="1173"/>
                  </a:lnTo>
                  <a:lnTo>
                    <a:pt x="1243" y="1177"/>
                  </a:lnTo>
                  <a:lnTo>
                    <a:pt x="1232" y="1182"/>
                  </a:lnTo>
                  <a:lnTo>
                    <a:pt x="1221" y="1187"/>
                  </a:lnTo>
                  <a:lnTo>
                    <a:pt x="1211" y="1193"/>
                  </a:lnTo>
                  <a:lnTo>
                    <a:pt x="1201" y="1199"/>
                  </a:lnTo>
                  <a:lnTo>
                    <a:pt x="1191" y="1206"/>
                  </a:lnTo>
                  <a:lnTo>
                    <a:pt x="1181" y="1214"/>
                  </a:lnTo>
                  <a:lnTo>
                    <a:pt x="1172" y="1222"/>
                  </a:lnTo>
                  <a:lnTo>
                    <a:pt x="1163" y="1231"/>
                  </a:lnTo>
                  <a:lnTo>
                    <a:pt x="1155" y="1239"/>
                  </a:lnTo>
                  <a:lnTo>
                    <a:pt x="1147" y="1249"/>
                  </a:lnTo>
                  <a:lnTo>
                    <a:pt x="1140" y="1259"/>
                  </a:lnTo>
                  <a:lnTo>
                    <a:pt x="1132" y="1271"/>
                  </a:lnTo>
                  <a:lnTo>
                    <a:pt x="1125" y="1282"/>
                  </a:lnTo>
                  <a:lnTo>
                    <a:pt x="1120" y="1294"/>
                  </a:lnTo>
                  <a:lnTo>
                    <a:pt x="1114" y="1306"/>
                  </a:lnTo>
                  <a:lnTo>
                    <a:pt x="1109" y="1318"/>
                  </a:lnTo>
                  <a:lnTo>
                    <a:pt x="1104" y="1333"/>
                  </a:lnTo>
                  <a:lnTo>
                    <a:pt x="1101" y="1346"/>
                  </a:lnTo>
                  <a:lnTo>
                    <a:pt x="1098" y="1361"/>
                  </a:lnTo>
                  <a:lnTo>
                    <a:pt x="1094" y="1376"/>
                  </a:lnTo>
                  <a:lnTo>
                    <a:pt x="1092" y="1392"/>
                  </a:lnTo>
                  <a:lnTo>
                    <a:pt x="1091" y="1407"/>
                  </a:lnTo>
                  <a:lnTo>
                    <a:pt x="1090" y="1424"/>
                  </a:lnTo>
                  <a:lnTo>
                    <a:pt x="1089" y="1442"/>
                  </a:lnTo>
                  <a:lnTo>
                    <a:pt x="1090" y="1458"/>
                  </a:lnTo>
                  <a:lnTo>
                    <a:pt x="1091" y="1475"/>
                  </a:lnTo>
                  <a:lnTo>
                    <a:pt x="1092" y="1492"/>
                  </a:lnTo>
                  <a:lnTo>
                    <a:pt x="1094" y="1507"/>
                  </a:lnTo>
                  <a:lnTo>
                    <a:pt x="1098" y="1523"/>
                  </a:lnTo>
                  <a:lnTo>
                    <a:pt x="1101" y="1537"/>
                  </a:lnTo>
                  <a:lnTo>
                    <a:pt x="1104" y="1550"/>
                  </a:lnTo>
                  <a:lnTo>
                    <a:pt x="1109" y="1564"/>
                  </a:lnTo>
                  <a:lnTo>
                    <a:pt x="1114" y="1577"/>
                  </a:lnTo>
                  <a:lnTo>
                    <a:pt x="1120" y="1589"/>
                  </a:lnTo>
                  <a:lnTo>
                    <a:pt x="1125" y="1602"/>
                  </a:lnTo>
                  <a:lnTo>
                    <a:pt x="1132" y="1613"/>
                  </a:lnTo>
                  <a:lnTo>
                    <a:pt x="1140" y="1624"/>
                  </a:lnTo>
                  <a:lnTo>
                    <a:pt x="1147" y="1634"/>
                  </a:lnTo>
                  <a:lnTo>
                    <a:pt x="1155" y="1644"/>
                  </a:lnTo>
                  <a:lnTo>
                    <a:pt x="1163" y="1653"/>
                  </a:lnTo>
                  <a:lnTo>
                    <a:pt x="1172" y="1662"/>
                  </a:lnTo>
                  <a:lnTo>
                    <a:pt x="1181" y="1669"/>
                  </a:lnTo>
                  <a:lnTo>
                    <a:pt x="1191" y="1677"/>
                  </a:lnTo>
                  <a:lnTo>
                    <a:pt x="1201" y="1684"/>
                  </a:lnTo>
                  <a:lnTo>
                    <a:pt x="1211" y="1690"/>
                  </a:lnTo>
                  <a:lnTo>
                    <a:pt x="1221" y="1696"/>
                  </a:lnTo>
                  <a:lnTo>
                    <a:pt x="1232" y="1702"/>
                  </a:lnTo>
                  <a:lnTo>
                    <a:pt x="1243" y="1706"/>
                  </a:lnTo>
                  <a:lnTo>
                    <a:pt x="1254" y="1710"/>
                  </a:lnTo>
                  <a:lnTo>
                    <a:pt x="1266" y="1714"/>
                  </a:lnTo>
                  <a:lnTo>
                    <a:pt x="1279" y="1717"/>
                  </a:lnTo>
                  <a:lnTo>
                    <a:pt x="1291" y="1719"/>
                  </a:lnTo>
                  <a:lnTo>
                    <a:pt x="1303" y="1722"/>
                  </a:lnTo>
                  <a:lnTo>
                    <a:pt x="1315" y="1723"/>
                  </a:lnTo>
                  <a:lnTo>
                    <a:pt x="1328" y="1724"/>
                  </a:lnTo>
                  <a:lnTo>
                    <a:pt x="1341" y="1724"/>
                  </a:lnTo>
                  <a:close/>
                  <a:moveTo>
                    <a:pt x="1389" y="1566"/>
                  </a:moveTo>
                  <a:lnTo>
                    <a:pt x="1376" y="1565"/>
                  </a:lnTo>
                  <a:lnTo>
                    <a:pt x="1370" y="1565"/>
                  </a:lnTo>
                  <a:lnTo>
                    <a:pt x="1364" y="1564"/>
                  </a:lnTo>
                  <a:lnTo>
                    <a:pt x="1352" y="1560"/>
                  </a:lnTo>
                  <a:lnTo>
                    <a:pt x="1346" y="1559"/>
                  </a:lnTo>
                  <a:lnTo>
                    <a:pt x="1341" y="1557"/>
                  </a:lnTo>
                  <a:lnTo>
                    <a:pt x="1330" y="1552"/>
                  </a:lnTo>
                  <a:lnTo>
                    <a:pt x="1325" y="1549"/>
                  </a:lnTo>
                  <a:lnTo>
                    <a:pt x="1320" y="1546"/>
                  </a:lnTo>
                  <a:lnTo>
                    <a:pt x="1315" y="1543"/>
                  </a:lnTo>
                  <a:lnTo>
                    <a:pt x="1311" y="1539"/>
                  </a:lnTo>
                  <a:lnTo>
                    <a:pt x="1302" y="1532"/>
                  </a:lnTo>
                  <a:lnTo>
                    <a:pt x="1294" y="1524"/>
                  </a:lnTo>
                  <a:lnTo>
                    <a:pt x="1288" y="1514"/>
                  </a:lnTo>
                  <a:lnTo>
                    <a:pt x="1282" y="1504"/>
                  </a:lnTo>
                  <a:lnTo>
                    <a:pt x="1279" y="1498"/>
                  </a:lnTo>
                  <a:lnTo>
                    <a:pt x="1276" y="1493"/>
                  </a:lnTo>
                  <a:lnTo>
                    <a:pt x="1272" y="1482"/>
                  </a:lnTo>
                  <a:lnTo>
                    <a:pt x="1270" y="1468"/>
                  </a:lnTo>
                  <a:lnTo>
                    <a:pt x="1269" y="1462"/>
                  </a:lnTo>
                  <a:lnTo>
                    <a:pt x="1268" y="1455"/>
                  </a:lnTo>
                  <a:lnTo>
                    <a:pt x="1268" y="1442"/>
                  </a:lnTo>
                  <a:lnTo>
                    <a:pt x="1268" y="1427"/>
                  </a:lnTo>
                  <a:lnTo>
                    <a:pt x="1270" y="1415"/>
                  </a:lnTo>
                  <a:lnTo>
                    <a:pt x="1271" y="1408"/>
                  </a:lnTo>
                  <a:lnTo>
                    <a:pt x="1272" y="1402"/>
                  </a:lnTo>
                  <a:lnTo>
                    <a:pt x="1276" y="1391"/>
                  </a:lnTo>
                  <a:lnTo>
                    <a:pt x="1279" y="1385"/>
                  </a:lnTo>
                  <a:lnTo>
                    <a:pt x="1282" y="1379"/>
                  </a:lnTo>
                  <a:lnTo>
                    <a:pt x="1288" y="1369"/>
                  </a:lnTo>
                  <a:lnTo>
                    <a:pt x="1294" y="1359"/>
                  </a:lnTo>
                  <a:lnTo>
                    <a:pt x="1302" y="1351"/>
                  </a:lnTo>
                  <a:lnTo>
                    <a:pt x="1306" y="1347"/>
                  </a:lnTo>
                  <a:lnTo>
                    <a:pt x="1311" y="1344"/>
                  </a:lnTo>
                  <a:lnTo>
                    <a:pt x="1315" y="1341"/>
                  </a:lnTo>
                  <a:lnTo>
                    <a:pt x="1320" y="1337"/>
                  </a:lnTo>
                  <a:lnTo>
                    <a:pt x="1330" y="1331"/>
                  </a:lnTo>
                  <a:lnTo>
                    <a:pt x="1341" y="1326"/>
                  </a:lnTo>
                  <a:lnTo>
                    <a:pt x="1352" y="1323"/>
                  </a:lnTo>
                  <a:lnTo>
                    <a:pt x="1364" y="1319"/>
                  </a:lnTo>
                  <a:lnTo>
                    <a:pt x="1370" y="1318"/>
                  </a:lnTo>
                  <a:lnTo>
                    <a:pt x="1376" y="1318"/>
                  </a:lnTo>
                  <a:lnTo>
                    <a:pt x="1389" y="1317"/>
                  </a:lnTo>
                  <a:lnTo>
                    <a:pt x="1402" y="1318"/>
                  </a:lnTo>
                  <a:lnTo>
                    <a:pt x="1414" y="1319"/>
                  </a:lnTo>
                  <a:lnTo>
                    <a:pt x="1426" y="1323"/>
                  </a:lnTo>
                  <a:lnTo>
                    <a:pt x="1432" y="1324"/>
                  </a:lnTo>
                  <a:lnTo>
                    <a:pt x="1438" y="1326"/>
                  </a:lnTo>
                  <a:lnTo>
                    <a:pt x="1449" y="1331"/>
                  </a:lnTo>
                  <a:lnTo>
                    <a:pt x="1454" y="1334"/>
                  </a:lnTo>
                  <a:lnTo>
                    <a:pt x="1459" y="1337"/>
                  </a:lnTo>
                  <a:lnTo>
                    <a:pt x="1463" y="1341"/>
                  </a:lnTo>
                  <a:lnTo>
                    <a:pt x="1469" y="1344"/>
                  </a:lnTo>
                  <a:lnTo>
                    <a:pt x="1476" y="1351"/>
                  </a:lnTo>
                  <a:lnTo>
                    <a:pt x="1484" y="1359"/>
                  </a:lnTo>
                  <a:lnTo>
                    <a:pt x="1492" y="1369"/>
                  </a:lnTo>
                  <a:lnTo>
                    <a:pt x="1498" y="1379"/>
                  </a:lnTo>
                  <a:lnTo>
                    <a:pt x="1500" y="1385"/>
                  </a:lnTo>
                  <a:lnTo>
                    <a:pt x="1503" y="1391"/>
                  </a:lnTo>
                  <a:lnTo>
                    <a:pt x="1506" y="1402"/>
                  </a:lnTo>
                  <a:lnTo>
                    <a:pt x="1510" y="1415"/>
                  </a:lnTo>
                  <a:lnTo>
                    <a:pt x="1511" y="1421"/>
                  </a:lnTo>
                  <a:lnTo>
                    <a:pt x="1511" y="1427"/>
                  </a:lnTo>
                  <a:lnTo>
                    <a:pt x="1512" y="1442"/>
                  </a:lnTo>
                  <a:lnTo>
                    <a:pt x="1511" y="1455"/>
                  </a:lnTo>
                  <a:lnTo>
                    <a:pt x="1510" y="1468"/>
                  </a:lnTo>
                  <a:lnTo>
                    <a:pt x="1509" y="1475"/>
                  </a:lnTo>
                  <a:lnTo>
                    <a:pt x="1506" y="1482"/>
                  </a:lnTo>
                  <a:lnTo>
                    <a:pt x="1503" y="1493"/>
                  </a:lnTo>
                  <a:lnTo>
                    <a:pt x="1500" y="1498"/>
                  </a:lnTo>
                  <a:lnTo>
                    <a:pt x="1498" y="1504"/>
                  </a:lnTo>
                  <a:lnTo>
                    <a:pt x="1492" y="1514"/>
                  </a:lnTo>
                  <a:lnTo>
                    <a:pt x="1484" y="1524"/>
                  </a:lnTo>
                  <a:lnTo>
                    <a:pt x="1476" y="1532"/>
                  </a:lnTo>
                  <a:lnTo>
                    <a:pt x="1473" y="1536"/>
                  </a:lnTo>
                  <a:lnTo>
                    <a:pt x="1469" y="1539"/>
                  </a:lnTo>
                  <a:lnTo>
                    <a:pt x="1463" y="1543"/>
                  </a:lnTo>
                  <a:lnTo>
                    <a:pt x="1459" y="1546"/>
                  </a:lnTo>
                  <a:lnTo>
                    <a:pt x="1449" y="1552"/>
                  </a:lnTo>
                  <a:lnTo>
                    <a:pt x="1438" y="1557"/>
                  </a:lnTo>
                  <a:lnTo>
                    <a:pt x="1426" y="1560"/>
                  </a:lnTo>
                  <a:lnTo>
                    <a:pt x="1414" y="1564"/>
                  </a:lnTo>
                  <a:lnTo>
                    <a:pt x="1402" y="1565"/>
                  </a:lnTo>
                  <a:lnTo>
                    <a:pt x="1389" y="1566"/>
                  </a:lnTo>
                  <a:close/>
                  <a:moveTo>
                    <a:pt x="2100" y="1158"/>
                  </a:moveTo>
                  <a:lnTo>
                    <a:pt x="2086" y="1160"/>
                  </a:lnTo>
                  <a:lnTo>
                    <a:pt x="2072" y="1161"/>
                  </a:lnTo>
                  <a:lnTo>
                    <a:pt x="2058" y="1163"/>
                  </a:lnTo>
                  <a:lnTo>
                    <a:pt x="2046" y="1165"/>
                  </a:lnTo>
                  <a:lnTo>
                    <a:pt x="2034" y="1169"/>
                  </a:lnTo>
                  <a:lnTo>
                    <a:pt x="2022" y="1174"/>
                  </a:lnTo>
                  <a:lnTo>
                    <a:pt x="2010" y="1178"/>
                  </a:lnTo>
                  <a:lnTo>
                    <a:pt x="1998" y="1184"/>
                  </a:lnTo>
                  <a:lnTo>
                    <a:pt x="1987" y="1191"/>
                  </a:lnTo>
                  <a:lnTo>
                    <a:pt x="1977" y="1198"/>
                  </a:lnTo>
                  <a:lnTo>
                    <a:pt x="1967" y="1206"/>
                  </a:lnTo>
                  <a:lnTo>
                    <a:pt x="1959" y="1215"/>
                  </a:lnTo>
                  <a:lnTo>
                    <a:pt x="1950" y="1225"/>
                  </a:lnTo>
                  <a:lnTo>
                    <a:pt x="1941" y="1235"/>
                  </a:lnTo>
                  <a:lnTo>
                    <a:pt x="1933" y="1245"/>
                  </a:lnTo>
                  <a:lnTo>
                    <a:pt x="1926" y="1256"/>
                  </a:lnTo>
                  <a:lnTo>
                    <a:pt x="1924" y="1256"/>
                  </a:lnTo>
                  <a:lnTo>
                    <a:pt x="1924" y="1176"/>
                  </a:lnTo>
                  <a:lnTo>
                    <a:pt x="1754" y="1176"/>
                  </a:lnTo>
                  <a:lnTo>
                    <a:pt x="1754" y="1707"/>
                  </a:lnTo>
                  <a:lnTo>
                    <a:pt x="1927" y="1707"/>
                  </a:lnTo>
                  <a:lnTo>
                    <a:pt x="1927" y="1441"/>
                  </a:lnTo>
                  <a:lnTo>
                    <a:pt x="1927" y="1424"/>
                  </a:lnTo>
                  <a:lnTo>
                    <a:pt x="1930" y="1408"/>
                  </a:lnTo>
                  <a:lnTo>
                    <a:pt x="1931" y="1401"/>
                  </a:lnTo>
                  <a:lnTo>
                    <a:pt x="1932" y="1394"/>
                  </a:lnTo>
                  <a:lnTo>
                    <a:pt x="1933" y="1387"/>
                  </a:lnTo>
                  <a:lnTo>
                    <a:pt x="1935" y="1381"/>
                  </a:lnTo>
                  <a:lnTo>
                    <a:pt x="1940" y="1368"/>
                  </a:lnTo>
                  <a:lnTo>
                    <a:pt x="1944" y="1358"/>
                  </a:lnTo>
                  <a:lnTo>
                    <a:pt x="1947" y="1354"/>
                  </a:lnTo>
                  <a:lnTo>
                    <a:pt x="1950" y="1349"/>
                  </a:lnTo>
                  <a:lnTo>
                    <a:pt x="1953" y="1345"/>
                  </a:lnTo>
                  <a:lnTo>
                    <a:pt x="1956" y="1341"/>
                  </a:lnTo>
                  <a:lnTo>
                    <a:pt x="1964" y="1334"/>
                  </a:lnTo>
                  <a:lnTo>
                    <a:pt x="1972" y="1327"/>
                  </a:lnTo>
                  <a:lnTo>
                    <a:pt x="1980" y="1323"/>
                  </a:lnTo>
                  <a:lnTo>
                    <a:pt x="1989" y="1318"/>
                  </a:lnTo>
                  <a:lnTo>
                    <a:pt x="1998" y="1315"/>
                  </a:lnTo>
                  <a:lnTo>
                    <a:pt x="2008" y="1314"/>
                  </a:lnTo>
                  <a:lnTo>
                    <a:pt x="2018" y="1312"/>
                  </a:lnTo>
                  <a:lnTo>
                    <a:pt x="2030" y="1312"/>
                  </a:lnTo>
                  <a:lnTo>
                    <a:pt x="2041" y="1312"/>
                  </a:lnTo>
                  <a:lnTo>
                    <a:pt x="2052" y="1314"/>
                  </a:lnTo>
                  <a:lnTo>
                    <a:pt x="2063" y="1315"/>
                  </a:lnTo>
                  <a:lnTo>
                    <a:pt x="2072" y="1318"/>
                  </a:lnTo>
                  <a:lnTo>
                    <a:pt x="2081" y="1323"/>
                  </a:lnTo>
                  <a:lnTo>
                    <a:pt x="2088" y="1327"/>
                  </a:lnTo>
                  <a:lnTo>
                    <a:pt x="2096" y="1333"/>
                  </a:lnTo>
                  <a:lnTo>
                    <a:pt x="2100" y="1336"/>
                  </a:lnTo>
                  <a:lnTo>
                    <a:pt x="2103" y="1339"/>
                  </a:lnTo>
                  <a:lnTo>
                    <a:pt x="2108" y="1347"/>
                  </a:lnTo>
                  <a:lnTo>
                    <a:pt x="2113" y="1355"/>
                  </a:lnTo>
                  <a:lnTo>
                    <a:pt x="2115" y="1361"/>
                  </a:lnTo>
                  <a:lnTo>
                    <a:pt x="2117" y="1365"/>
                  </a:lnTo>
                  <a:lnTo>
                    <a:pt x="2121" y="1375"/>
                  </a:lnTo>
                  <a:lnTo>
                    <a:pt x="2124" y="1386"/>
                  </a:lnTo>
                  <a:lnTo>
                    <a:pt x="2125" y="1399"/>
                  </a:lnTo>
                  <a:lnTo>
                    <a:pt x="2127" y="1413"/>
                  </a:lnTo>
                  <a:lnTo>
                    <a:pt x="2127" y="1426"/>
                  </a:lnTo>
                  <a:lnTo>
                    <a:pt x="2127" y="1707"/>
                  </a:lnTo>
                  <a:lnTo>
                    <a:pt x="2300" y="1707"/>
                  </a:lnTo>
                  <a:lnTo>
                    <a:pt x="2300" y="1378"/>
                  </a:lnTo>
                  <a:lnTo>
                    <a:pt x="2300" y="1364"/>
                  </a:lnTo>
                  <a:lnTo>
                    <a:pt x="2298" y="1351"/>
                  </a:lnTo>
                  <a:lnTo>
                    <a:pt x="2297" y="1338"/>
                  </a:lnTo>
                  <a:lnTo>
                    <a:pt x="2296" y="1325"/>
                  </a:lnTo>
                  <a:lnTo>
                    <a:pt x="2294" y="1314"/>
                  </a:lnTo>
                  <a:lnTo>
                    <a:pt x="2291" y="1302"/>
                  </a:lnTo>
                  <a:lnTo>
                    <a:pt x="2288" y="1291"/>
                  </a:lnTo>
                  <a:lnTo>
                    <a:pt x="2285" y="1281"/>
                  </a:lnTo>
                  <a:lnTo>
                    <a:pt x="2281" y="1269"/>
                  </a:lnTo>
                  <a:lnTo>
                    <a:pt x="2277" y="1261"/>
                  </a:lnTo>
                  <a:lnTo>
                    <a:pt x="2272" y="1251"/>
                  </a:lnTo>
                  <a:lnTo>
                    <a:pt x="2267" y="1243"/>
                  </a:lnTo>
                  <a:lnTo>
                    <a:pt x="2262" y="1234"/>
                  </a:lnTo>
                  <a:lnTo>
                    <a:pt x="2256" y="1226"/>
                  </a:lnTo>
                  <a:lnTo>
                    <a:pt x="2250" y="1218"/>
                  </a:lnTo>
                  <a:lnTo>
                    <a:pt x="2244" y="1212"/>
                  </a:lnTo>
                  <a:lnTo>
                    <a:pt x="2236" y="1205"/>
                  </a:lnTo>
                  <a:lnTo>
                    <a:pt x="2230" y="1199"/>
                  </a:lnTo>
                  <a:lnTo>
                    <a:pt x="2222" y="1194"/>
                  </a:lnTo>
                  <a:lnTo>
                    <a:pt x="2214" y="1188"/>
                  </a:lnTo>
                  <a:lnTo>
                    <a:pt x="2206" y="1184"/>
                  </a:lnTo>
                  <a:lnTo>
                    <a:pt x="2198" y="1179"/>
                  </a:lnTo>
                  <a:lnTo>
                    <a:pt x="2190" y="1175"/>
                  </a:lnTo>
                  <a:lnTo>
                    <a:pt x="2181" y="1172"/>
                  </a:lnTo>
                  <a:lnTo>
                    <a:pt x="2171" y="1168"/>
                  </a:lnTo>
                  <a:lnTo>
                    <a:pt x="2162" y="1166"/>
                  </a:lnTo>
                  <a:lnTo>
                    <a:pt x="2152" y="1164"/>
                  </a:lnTo>
                  <a:lnTo>
                    <a:pt x="2142" y="1162"/>
                  </a:lnTo>
                  <a:lnTo>
                    <a:pt x="2132" y="1161"/>
                  </a:lnTo>
                  <a:lnTo>
                    <a:pt x="2121" y="1160"/>
                  </a:lnTo>
                  <a:lnTo>
                    <a:pt x="2111" y="1160"/>
                  </a:lnTo>
                  <a:lnTo>
                    <a:pt x="2100" y="1158"/>
                  </a:lnTo>
                  <a:close/>
                  <a:moveTo>
                    <a:pt x="2651" y="1954"/>
                  </a:moveTo>
                  <a:lnTo>
                    <a:pt x="2668" y="1954"/>
                  </a:lnTo>
                  <a:lnTo>
                    <a:pt x="2685" y="1953"/>
                  </a:lnTo>
                  <a:lnTo>
                    <a:pt x="2701" y="1951"/>
                  </a:lnTo>
                  <a:lnTo>
                    <a:pt x="2716" y="1950"/>
                  </a:lnTo>
                  <a:lnTo>
                    <a:pt x="2731" y="1948"/>
                  </a:lnTo>
                  <a:lnTo>
                    <a:pt x="2745" y="1946"/>
                  </a:lnTo>
                  <a:lnTo>
                    <a:pt x="2759" y="1943"/>
                  </a:lnTo>
                  <a:lnTo>
                    <a:pt x="2773" y="1939"/>
                  </a:lnTo>
                  <a:lnTo>
                    <a:pt x="2779" y="1937"/>
                  </a:lnTo>
                  <a:lnTo>
                    <a:pt x="2786" y="1935"/>
                  </a:lnTo>
                  <a:lnTo>
                    <a:pt x="2798" y="1930"/>
                  </a:lnTo>
                  <a:lnTo>
                    <a:pt x="2810" y="1925"/>
                  </a:lnTo>
                  <a:lnTo>
                    <a:pt x="2822" y="1919"/>
                  </a:lnTo>
                  <a:lnTo>
                    <a:pt x="2833" y="1914"/>
                  </a:lnTo>
                  <a:lnTo>
                    <a:pt x="2844" y="1907"/>
                  </a:lnTo>
                  <a:lnTo>
                    <a:pt x="2853" y="1900"/>
                  </a:lnTo>
                  <a:lnTo>
                    <a:pt x="2863" y="1893"/>
                  </a:lnTo>
                  <a:lnTo>
                    <a:pt x="2872" y="1885"/>
                  </a:lnTo>
                  <a:lnTo>
                    <a:pt x="2879" y="1877"/>
                  </a:lnTo>
                  <a:lnTo>
                    <a:pt x="2887" y="1868"/>
                  </a:lnTo>
                  <a:lnTo>
                    <a:pt x="2895" y="1858"/>
                  </a:lnTo>
                  <a:lnTo>
                    <a:pt x="2902" y="1848"/>
                  </a:lnTo>
                  <a:lnTo>
                    <a:pt x="2907" y="1838"/>
                  </a:lnTo>
                  <a:lnTo>
                    <a:pt x="2913" y="1827"/>
                  </a:lnTo>
                  <a:lnTo>
                    <a:pt x="2918" y="1816"/>
                  </a:lnTo>
                  <a:lnTo>
                    <a:pt x="2923" y="1804"/>
                  </a:lnTo>
                  <a:lnTo>
                    <a:pt x="2926" y="1792"/>
                  </a:lnTo>
                  <a:lnTo>
                    <a:pt x="2929" y="1779"/>
                  </a:lnTo>
                  <a:lnTo>
                    <a:pt x="2932" y="1766"/>
                  </a:lnTo>
                  <a:lnTo>
                    <a:pt x="2934" y="1752"/>
                  </a:lnTo>
                  <a:lnTo>
                    <a:pt x="2936" y="1737"/>
                  </a:lnTo>
                  <a:lnTo>
                    <a:pt x="2937" y="1723"/>
                  </a:lnTo>
                  <a:lnTo>
                    <a:pt x="2937" y="1707"/>
                  </a:lnTo>
                  <a:lnTo>
                    <a:pt x="2937" y="1176"/>
                  </a:lnTo>
                  <a:lnTo>
                    <a:pt x="2764" y="1176"/>
                  </a:lnTo>
                  <a:lnTo>
                    <a:pt x="2764" y="1248"/>
                  </a:lnTo>
                  <a:lnTo>
                    <a:pt x="2762" y="1248"/>
                  </a:lnTo>
                  <a:lnTo>
                    <a:pt x="2755" y="1238"/>
                  </a:lnTo>
                  <a:lnTo>
                    <a:pt x="2748" y="1229"/>
                  </a:lnTo>
                  <a:lnTo>
                    <a:pt x="2741" y="1221"/>
                  </a:lnTo>
                  <a:lnTo>
                    <a:pt x="2733" y="1212"/>
                  </a:lnTo>
                  <a:lnTo>
                    <a:pt x="2724" y="1204"/>
                  </a:lnTo>
                  <a:lnTo>
                    <a:pt x="2715" y="1196"/>
                  </a:lnTo>
                  <a:lnTo>
                    <a:pt x="2709" y="1193"/>
                  </a:lnTo>
                  <a:lnTo>
                    <a:pt x="2705" y="1189"/>
                  </a:lnTo>
                  <a:lnTo>
                    <a:pt x="2694" y="1184"/>
                  </a:lnTo>
                  <a:lnTo>
                    <a:pt x="2684" y="1178"/>
                  </a:lnTo>
                  <a:lnTo>
                    <a:pt x="2672" y="1173"/>
                  </a:lnTo>
                  <a:lnTo>
                    <a:pt x="2659" y="1168"/>
                  </a:lnTo>
                  <a:lnTo>
                    <a:pt x="2646" y="1165"/>
                  </a:lnTo>
                  <a:lnTo>
                    <a:pt x="2633" y="1163"/>
                  </a:lnTo>
                  <a:lnTo>
                    <a:pt x="2618" y="1161"/>
                  </a:lnTo>
                  <a:lnTo>
                    <a:pt x="2604" y="1160"/>
                  </a:lnTo>
                  <a:lnTo>
                    <a:pt x="2587" y="1158"/>
                  </a:lnTo>
                  <a:lnTo>
                    <a:pt x="2575" y="1160"/>
                  </a:lnTo>
                  <a:lnTo>
                    <a:pt x="2562" y="1160"/>
                  </a:lnTo>
                  <a:lnTo>
                    <a:pt x="2537" y="1164"/>
                  </a:lnTo>
                  <a:lnTo>
                    <a:pt x="2525" y="1166"/>
                  </a:lnTo>
                  <a:lnTo>
                    <a:pt x="2513" y="1169"/>
                  </a:lnTo>
                  <a:lnTo>
                    <a:pt x="2502" y="1173"/>
                  </a:lnTo>
                  <a:lnTo>
                    <a:pt x="2491" y="1177"/>
                  </a:lnTo>
                  <a:lnTo>
                    <a:pt x="2479" y="1182"/>
                  </a:lnTo>
                  <a:lnTo>
                    <a:pt x="2468" y="1187"/>
                  </a:lnTo>
                  <a:lnTo>
                    <a:pt x="2457" y="1193"/>
                  </a:lnTo>
                  <a:lnTo>
                    <a:pt x="2447" y="1199"/>
                  </a:lnTo>
                  <a:lnTo>
                    <a:pt x="2437" y="1206"/>
                  </a:lnTo>
                  <a:lnTo>
                    <a:pt x="2428" y="1214"/>
                  </a:lnTo>
                  <a:lnTo>
                    <a:pt x="2419" y="1222"/>
                  </a:lnTo>
                  <a:lnTo>
                    <a:pt x="2411" y="1231"/>
                  </a:lnTo>
                  <a:lnTo>
                    <a:pt x="2402" y="1239"/>
                  </a:lnTo>
                  <a:lnTo>
                    <a:pt x="2394" y="1249"/>
                  </a:lnTo>
                  <a:lnTo>
                    <a:pt x="2386" y="1259"/>
                  </a:lnTo>
                  <a:lnTo>
                    <a:pt x="2379" y="1271"/>
                  </a:lnTo>
                  <a:lnTo>
                    <a:pt x="2373" y="1282"/>
                  </a:lnTo>
                  <a:lnTo>
                    <a:pt x="2366" y="1293"/>
                  </a:lnTo>
                  <a:lnTo>
                    <a:pt x="2361" y="1305"/>
                  </a:lnTo>
                  <a:lnTo>
                    <a:pt x="2356" y="1318"/>
                  </a:lnTo>
                  <a:lnTo>
                    <a:pt x="2352" y="1332"/>
                  </a:lnTo>
                  <a:lnTo>
                    <a:pt x="2347" y="1346"/>
                  </a:lnTo>
                  <a:lnTo>
                    <a:pt x="2346" y="1353"/>
                  </a:lnTo>
                  <a:lnTo>
                    <a:pt x="2344" y="1361"/>
                  </a:lnTo>
                  <a:lnTo>
                    <a:pt x="2342" y="1375"/>
                  </a:lnTo>
                  <a:lnTo>
                    <a:pt x="2340" y="1391"/>
                  </a:lnTo>
                  <a:lnTo>
                    <a:pt x="2337" y="1407"/>
                  </a:lnTo>
                  <a:lnTo>
                    <a:pt x="2336" y="1424"/>
                  </a:lnTo>
                  <a:lnTo>
                    <a:pt x="2336" y="1441"/>
                  </a:lnTo>
                  <a:lnTo>
                    <a:pt x="2336" y="1457"/>
                  </a:lnTo>
                  <a:lnTo>
                    <a:pt x="2337" y="1474"/>
                  </a:lnTo>
                  <a:lnTo>
                    <a:pt x="2338" y="1489"/>
                  </a:lnTo>
                  <a:lnTo>
                    <a:pt x="2341" y="1505"/>
                  </a:lnTo>
                  <a:lnTo>
                    <a:pt x="2344" y="1519"/>
                  </a:lnTo>
                  <a:lnTo>
                    <a:pt x="2347" y="1534"/>
                  </a:lnTo>
                  <a:lnTo>
                    <a:pt x="2352" y="1548"/>
                  </a:lnTo>
                  <a:lnTo>
                    <a:pt x="2356" y="1562"/>
                  </a:lnTo>
                  <a:lnTo>
                    <a:pt x="2361" y="1574"/>
                  </a:lnTo>
                  <a:lnTo>
                    <a:pt x="2366" y="1586"/>
                  </a:lnTo>
                  <a:lnTo>
                    <a:pt x="2372" y="1597"/>
                  </a:lnTo>
                  <a:lnTo>
                    <a:pt x="2378" y="1608"/>
                  </a:lnTo>
                  <a:lnTo>
                    <a:pt x="2386" y="1619"/>
                  </a:lnTo>
                  <a:lnTo>
                    <a:pt x="2393" y="1629"/>
                  </a:lnTo>
                  <a:lnTo>
                    <a:pt x="2401" y="1638"/>
                  </a:lnTo>
                  <a:lnTo>
                    <a:pt x="2409" y="1647"/>
                  </a:lnTo>
                  <a:lnTo>
                    <a:pt x="2418" y="1656"/>
                  </a:lnTo>
                  <a:lnTo>
                    <a:pt x="2427" y="1664"/>
                  </a:lnTo>
                  <a:lnTo>
                    <a:pt x="2436" y="1670"/>
                  </a:lnTo>
                  <a:lnTo>
                    <a:pt x="2446" y="1677"/>
                  </a:lnTo>
                  <a:lnTo>
                    <a:pt x="2456" y="1684"/>
                  </a:lnTo>
                  <a:lnTo>
                    <a:pt x="2467" y="1689"/>
                  </a:lnTo>
                  <a:lnTo>
                    <a:pt x="2477" y="1695"/>
                  </a:lnTo>
                  <a:lnTo>
                    <a:pt x="2488" y="1699"/>
                  </a:lnTo>
                  <a:lnTo>
                    <a:pt x="2501" y="1703"/>
                  </a:lnTo>
                  <a:lnTo>
                    <a:pt x="2512" y="1706"/>
                  </a:lnTo>
                  <a:lnTo>
                    <a:pt x="2524" y="1709"/>
                  </a:lnTo>
                  <a:lnTo>
                    <a:pt x="2536" y="1712"/>
                  </a:lnTo>
                  <a:lnTo>
                    <a:pt x="2548" y="1714"/>
                  </a:lnTo>
                  <a:lnTo>
                    <a:pt x="2561" y="1715"/>
                  </a:lnTo>
                  <a:lnTo>
                    <a:pt x="2574" y="1716"/>
                  </a:lnTo>
                  <a:lnTo>
                    <a:pt x="2586" y="1716"/>
                  </a:lnTo>
                  <a:lnTo>
                    <a:pt x="2603" y="1716"/>
                  </a:lnTo>
                  <a:lnTo>
                    <a:pt x="2618" y="1715"/>
                  </a:lnTo>
                  <a:lnTo>
                    <a:pt x="2634" y="1713"/>
                  </a:lnTo>
                  <a:lnTo>
                    <a:pt x="2647" y="1709"/>
                  </a:lnTo>
                  <a:lnTo>
                    <a:pt x="2661" y="1706"/>
                  </a:lnTo>
                  <a:lnTo>
                    <a:pt x="2673" y="1702"/>
                  </a:lnTo>
                  <a:lnTo>
                    <a:pt x="2685" y="1697"/>
                  </a:lnTo>
                  <a:lnTo>
                    <a:pt x="2696" y="1692"/>
                  </a:lnTo>
                  <a:lnTo>
                    <a:pt x="2706" y="1686"/>
                  </a:lnTo>
                  <a:lnTo>
                    <a:pt x="2716" y="1679"/>
                  </a:lnTo>
                  <a:lnTo>
                    <a:pt x="2725" y="1673"/>
                  </a:lnTo>
                  <a:lnTo>
                    <a:pt x="2734" y="1666"/>
                  </a:lnTo>
                  <a:lnTo>
                    <a:pt x="2742" y="1658"/>
                  </a:lnTo>
                  <a:lnTo>
                    <a:pt x="2748" y="1652"/>
                  </a:lnTo>
                  <a:lnTo>
                    <a:pt x="2755" y="1644"/>
                  </a:lnTo>
                  <a:lnTo>
                    <a:pt x="2762" y="1636"/>
                  </a:lnTo>
                  <a:lnTo>
                    <a:pt x="2764" y="1636"/>
                  </a:lnTo>
                  <a:lnTo>
                    <a:pt x="2764" y="1670"/>
                  </a:lnTo>
                  <a:lnTo>
                    <a:pt x="2763" y="1687"/>
                  </a:lnTo>
                  <a:lnTo>
                    <a:pt x="2762" y="1703"/>
                  </a:lnTo>
                  <a:lnTo>
                    <a:pt x="2759" y="1716"/>
                  </a:lnTo>
                  <a:lnTo>
                    <a:pt x="2758" y="1723"/>
                  </a:lnTo>
                  <a:lnTo>
                    <a:pt x="2756" y="1728"/>
                  </a:lnTo>
                  <a:lnTo>
                    <a:pt x="2754" y="1734"/>
                  </a:lnTo>
                  <a:lnTo>
                    <a:pt x="2752" y="1739"/>
                  </a:lnTo>
                  <a:lnTo>
                    <a:pt x="2747" y="1749"/>
                  </a:lnTo>
                  <a:lnTo>
                    <a:pt x="2741" y="1758"/>
                  </a:lnTo>
                  <a:lnTo>
                    <a:pt x="2737" y="1763"/>
                  </a:lnTo>
                  <a:lnTo>
                    <a:pt x="2734" y="1766"/>
                  </a:lnTo>
                  <a:lnTo>
                    <a:pt x="2725" y="1773"/>
                  </a:lnTo>
                  <a:lnTo>
                    <a:pt x="2716" y="1778"/>
                  </a:lnTo>
                  <a:lnTo>
                    <a:pt x="2706" y="1783"/>
                  </a:lnTo>
                  <a:lnTo>
                    <a:pt x="2695" y="1786"/>
                  </a:lnTo>
                  <a:lnTo>
                    <a:pt x="2683" y="1789"/>
                  </a:lnTo>
                  <a:lnTo>
                    <a:pt x="2668" y="1790"/>
                  </a:lnTo>
                  <a:lnTo>
                    <a:pt x="2654" y="1792"/>
                  </a:lnTo>
                  <a:lnTo>
                    <a:pt x="2638" y="1792"/>
                  </a:lnTo>
                  <a:lnTo>
                    <a:pt x="2623" y="1792"/>
                  </a:lnTo>
                  <a:lnTo>
                    <a:pt x="2605" y="1790"/>
                  </a:lnTo>
                  <a:lnTo>
                    <a:pt x="2585" y="1789"/>
                  </a:lnTo>
                  <a:lnTo>
                    <a:pt x="2563" y="1787"/>
                  </a:lnTo>
                  <a:lnTo>
                    <a:pt x="2538" y="1783"/>
                  </a:lnTo>
                  <a:lnTo>
                    <a:pt x="2513" y="1778"/>
                  </a:lnTo>
                  <a:lnTo>
                    <a:pt x="2484" y="1773"/>
                  </a:lnTo>
                  <a:lnTo>
                    <a:pt x="2452" y="1766"/>
                  </a:lnTo>
                  <a:lnTo>
                    <a:pt x="2424" y="1928"/>
                  </a:lnTo>
                  <a:lnTo>
                    <a:pt x="2456" y="1934"/>
                  </a:lnTo>
                  <a:lnTo>
                    <a:pt x="2489" y="1939"/>
                  </a:lnTo>
                  <a:lnTo>
                    <a:pt x="2521" y="1944"/>
                  </a:lnTo>
                  <a:lnTo>
                    <a:pt x="2551" y="1948"/>
                  </a:lnTo>
                  <a:lnTo>
                    <a:pt x="2578" y="1950"/>
                  </a:lnTo>
                  <a:lnTo>
                    <a:pt x="2605" y="1953"/>
                  </a:lnTo>
                  <a:lnTo>
                    <a:pt x="2629" y="1954"/>
                  </a:lnTo>
                  <a:lnTo>
                    <a:pt x="2651" y="1954"/>
                  </a:lnTo>
                  <a:close/>
                  <a:moveTo>
                    <a:pt x="2636" y="1566"/>
                  </a:moveTo>
                  <a:lnTo>
                    <a:pt x="2623" y="1565"/>
                  </a:lnTo>
                  <a:lnTo>
                    <a:pt x="2617" y="1565"/>
                  </a:lnTo>
                  <a:lnTo>
                    <a:pt x="2611" y="1564"/>
                  </a:lnTo>
                  <a:lnTo>
                    <a:pt x="2599" y="1560"/>
                  </a:lnTo>
                  <a:lnTo>
                    <a:pt x="2594" y="1559"/>
                  </a:lnTo>
                  <a:lnTo>
                    <a:pt x="2588" y="1557"/>
                  </a:lnTo>
                  <a:lnTo>
                    <a:pt x="2577" y="1552"/>
                  </a:lnTo>
                  <a:lnTo>
                    <a:pt x="2567" y="1546"/>
                  </a:lnTo>
                  <a:lnTo>
                    <a:pt x="2563" y="1543"/>
                  </a:lnTo>
                  <a:lnTo>
                    <a:pt x="2558" y="1539"/>
                  </a:lnTo>
                  <a:lnTo>
                    <a:pt x="2549" y="1532"/>
                  </a:lnTo>
                  <a:lnTo>
                    <a:pt x="2542" y="1524"/>
                  </a:lnTo>
                  <a:lnTo>
                    <a:pt x="2535" y="1514"/>
                  </a:lnTo>
                  <a:lnTo>
                    <a:pt x="2528" y="1504"/>
                  </a:lnTo>
                  <a:lnTo>
                    <a:pt x="2526" y="1498"/>
                  </a:lnTo>
                  <a:lnTo>
                    <a:pt x="2524" y="1493"/>
                  </a:lnTo>
                  <a:lnTo>
                    <a:pt x="2519" y="1482"/>
                  </a:lnTo>
                  <a:lnTo>
                    <a:pt x="2516" y="1468"/>
                  </a:lnTo>
                  <a:lnTo>
                    <a:pt x="2515" y="1462"/>
                  </a:lnTo>
                  <a:lnTo>
                    <a:pt x="2515" y="1455"/>
                  </a:lnTo>
                  <a:lnTo>
                    <a:pt x="2514" y="1442"/>
                  </a:lnTo>
                  <a:lnTo>
                    <a:pt x="2515" y="1427"/>
                  </a:lnTo>
                  <a:lnTo>
                    <a:pt x="2516" y="1415"/>
                  </a:lnTo>
                  <a:lnTo>
                    <a:pt x="2518" y="1408"/>
                  </a:lnTo>
                  <a:lnTo>
                    <a:pt x="2519" y="1402"/>
                  </a:lnTo>
                  <a:lnTo>
                    <a:pt x="2524" y="1391"/>
                  </a:lnTo>
                  <a:lnTo>
                    <a:pt x="2526" y="1385"/>
                  </a:lnTo>
                  <a:lnTo>
                    <a:pt x="2528" y="1379"/>
                  </a:lnTo>
                  <a:lnTo>
                    <a:pt x="2535" y="1369"/>
                  </a:lnTo>
                  <a:lnTo>
                    <a:pt x="2542" y="1359"/>
                  </a:lnTo>
                  <a:lnTo>
                    <a:pt x="2549" y="1351"/>
                  </a:lnTo>
                  <a:lnTo>
                    <a:pt x="2554" y="1347"/>
                  </a:lnTo>
                  <a:lnTo>
                    <a:pt x="2558" y="1344"/>
                  </a:lnTo>
                  <a:lnTo>
                    <a:pt x="2563" y="1341"/>
                  </a:lnTo>
                  <a:lnTo>
                    <a:pt x="2567" y="1337"/>
                  </a:lnTo>
                  <a:lnTo>
                    <a:pt x="2577" y="1331"/>
                  </a:lnTo>
                  <a:lnTo>
                    <a:pt x="2588" y="1326"/>
                  </a:lnTo>
                  <a:lnTo>
                    <a:pt x="2599" y="1323"/>
                  </a:lnTo>
                  <a:lnTo>
                    <a:pt x="2611" y="1319"/>
                  </a:lnTo>
                  <a:lnTo>
                    <a:pt x="2617" y="1318"/>
                  </a:lnTo>
                  <a:lnTo>
                    <a:pt x="2623" y="1318"/>
                  </a:lnTo>
                  <a:lnTo>
                    <a:pt x="2636" y="1317"/>
                  </a:lnTo>
                  <a:lnTo>
                    <a:pt x="2649" y="1318"/>
                  </a:lnTo>
                  <a:lnTo>
                    <a:pt x="2662" y="1319"/>
                  </a:lnTo>
                  <a:lnTo>
                    <a:pt x="2674" y="1323"/>
                  </a:lnTo>
                  <a:lnTo>
                    <a:pt x="2679" y="1324"/>
                  </a:lnTo>
                  <a:lnTo>
                    <a:pt x="2685" y="1326"/>
                  </a:lnTo>
                  <a:lnTo>
                    <a:pt x="2696" y="1331"/>
                  </a:lnTo>
                  <a:lnTo>
                    <a:pt x="2701" y="1334"/>
                  </a:lnTo>
                  <a:lnTo>
                    <a:pt x="2706" y="1337"/>
                  </a:lnTo>
                  <a:lnTo>
                    <a:pt x="2711" y="1341"/>
                  </a:lnTo>
                  <a:lnTo>
                    <a:pt x="2715" y="1344"/>
                  </a:lnTo>
                  <a:lnTo>
                    <a:pt x="2724" y="1351"/>
                  </a:lnTo>
                  <a:lnTo>
                    <a:pt x="2732" y="1359"/>
                  </a:lnTo>
                  <a:lnTo>
                    <a:pt x="2738" y="1369"/>
                  </a:lnTo>
                  <a:lnTo>
                    <a:pt x="2745" y="1379"/>
                  </a:lnTo>
                  <a:lnTo>
                    <a:pt x="2747" y="1385"/>
                  </a:lnTo>
                  <a:lnTo>
                    <a:pt x="2749" y="1391"/>
                  </a:lnTo>
                  <a:lnTo>
                    <a:pt x="2754" y="1402"/>
                  </a:lnTo>
                  <a:lnTo>
                    <a:pt x="2756" y="1415"/>
                  </a:lnTo>
                  <a:lnTo>
                    <a:pt x="2757" y="1421"/>
                  </a:lnTo>
                  <a:lnTo>
                    <a:pt x="2758" y="1427"/>
                  </a:lnTo>
                  <a:lnTo>
                    <a:pt x="2759" y="1442"/>
                  </a:lnTo>
                  <a:lnTo>
                    <a:pt x="2758" y="1455"/>
                  </a:lnTo>
                  <a:lnTo>
                    <a:pt x="2756" y="1468"/>
                  </a:lnTo>
                  <a:lnTo>
                    <a:pt x="2755" y="1475"/>
                  </a:lnTo>
                  <a:lnTo>
                    <a:pt x="2754" y="1482"/>
                  </a:lnTo>
                  <a:lnTo>
                    <a:pt x="2749" y="1493"/>
                  </a:lnTo>
                  <a:lnTo>
                    <a:pt x="2747" y="1498"/>
                  </a:lnTo>
                  <a:lnTo>
                    <a:pt x="2745" y="1504"/>
                  </a:lnTo>
                  <a:lnTo>
                    <a:pt x="2738" y="1514"/>
                  </a:lnTo>
                  <a:lnTo>
                    <a:pt x="2732" y="1524"/>
                  </a:lnTo>
                  <a:lnTo>
                    <a:pt x="2724" y="1532"/>
                  </a:lnTo>
                  <a:lnTo>
                    <a:pt x="2719" y="1536"/>
                  </a:lnTo>
                  <a:lnTo>
                    <a:pt x="2715" y="1539"/>
                  </a:lnTo>
                  <a:lnTo>
                    <a:pt x="2711" y="1543"/>
                  </a:lnTo>
                  <a:lnTo>
                    <a:pt x="2706" y="1546"/>
                  </a:lnTo>
                  <a:lnTo>
                    <a:pt x="2696" y="1552"/>
                  </a:lnTo>
                  <a:lnTo>
                    <a:pt x="2685" y="1557"/>
                  </a:lnTo>
                  <a:lnTo>
                    <a:pt x="2674" y="1560"/>
                  </a:lnTo>
                  <a:lnTo>
                    <a:pt x="2662" y="1564"/>
                  </a:lnTo>
                  <a:lnTo>
                    <a:pt x="2649" y="1565"/>
                  </a:lnTo>
                  <a:lnTo>
                    <a:pt x="2636" y="1566"/>
                  </a:lnTo>
                  <a:close/>
                  <a:moveTo>
                    <a:pt x="3254" y="1160"/>
                  </a:moveTo>
                  <a:lnTo>
                    <a:pt x="3239" y="1161"/>
                  </a:lnTo>
                  <a:lnTo>
                    <a:pt x="3224" y="1162"/>
                  </a:lnTo>
                  <a:lnTo>
                    <a:pt x="3209" y="1163"/>
                  </a:lnTo>
                  <a:lnTo>
                    <a:pt x="3195" y="1165"/>
                  </a:lnTo>
                  <a:lnTo>
                    <a:pt x="3181" y="1167"/>
                  </a:lnTo>
                  <a:lnTo>
                    <a:pt x="3167" y="1171"/>
                  </a:lnTo>
                  <a:lnTo>
                    <a:pt x="3154" y="1175"/>
                  </a:lnTo>
                  <a:lnTo>
                    <a:pt x="3141" y="1179"/>
                  </a:lnTo>
                  <a:lnTo>
                    <a:pt x="3129" y="1184"/>
                  </a:lnTo>
                  <a:lnTo>
                    <a:pt x="3117" y="1189"/>
                  </a:lnTo>
                  <a:lnTo>
                    <a:pt x="3105" y="1196"/>
                  </a:lnTo>
                  <a:lnTo>
                    <a:pt x="3094" y="1203"/>
                  </a:lnTo>
                  <a:lnTo>
                    <a:pt x="3083" y="1209"/>
                  </a:lnTo>
                  <a:lnTo>
                    <a:pt x="3073" y="1217"/>
                  </a:lnTo>
                  <a:lnTo>
                    <a:pt x="3063" y="1226"/>
                  </a:lnTo>
                  <a:lnTo>
                    <a:pt x="3053" y="1235"/>
                  </a:lnTo>
                  <a:lnTo>
                    <a:pt x="3044" y="1244"/>
                  </a:lnTo>
                  <a:lnTo>
                    <a:pt x="3035" y="1254"/>
                  </a:lnTo>
                  <a:lnTo>
                    <a:pt x="3027" y="1264"/>
                  </a:lnTo>
                  <a:lnTo>
                    <a:pt x="3019" y="1275"/>
                  </a:lnTo>
                  <a:lnTo>
                    <a:pt x="3013" y="1287"/>
                  </a:lnTo>
                  <a:lnTo>
                    <a:pt x="3006" y="1298"/>
                  </a:lnTo>
                  <a:lnTo>
                    <a:pt x="3003" y="1305"/>
                  </a:lnTo>
                  <a:lnTo>
                    <a:pt x="2999" y="1311"/>
                  </a:lnTo>
                  <a:lnTo>
                    <a:pt x="2995" y="1324"/>
                  </a:lnTo>
                  <a:lnTo>
                    <a:pt x="2989" y="1337"/>
                  </a:lnTo>
                  <a:lnTo>
                    <a:pt x="2986" y="1352"/>
                  </a:lnTo>
                  <a:lnTo>
                    <a:pt x="2982" y="1365"/>
                  </a:lnTo>
                  <a:lnTo>
                    <a:pt x="2979" y="1381"/>
                  </a:lnTo>
                  <a:lnTo>
                    <a:pt x="2977" y="1395"/>
                  </a:lnTo>
                  <a:lnTo>
                    <a:pt x="2975" y="1412"/>
                  </a:lnTo>
                  <a:lnTo>
                    <a:pt x="2974" y="1427"/>
                  </a:lnTo>
                  <a:lnTo>
                    <a:pt x="2974" y="1444"/>
                  </a:lnTo>
                  <a:lnTo>
                    <a:pt x="2974" y="1459"/>
                  </a:lnTo>
                  <a:lnTo>
                    <a:pt x="2975" y="1475"/>
                  </a:lnTo>
                  <a:lnTo>
                    <a:pt x="2977" y="1489"/>
                  </a:lnTo>
                  <a:lnTo>
                    <a:pt x="2979" y="1505"/>
                  </a:lnTo>
                  <a:lnTo>
                    <a:pt x="2982" y="1518"/>
                  </a:lnTo>
                  <a:lnTo>
                    <a:pt x="2986" y="1533"/>
                  </a:lnTo>
                  <a:lnTo>
                    <a:pt x="2990" y="1546"/>
                  </a:lnTo>
                  <a:lnTo>
                    <a:pt x="2993" y="1553"/>
                  </a:lnTo>
                  <a:lnTo>
                    <a:pt x="2995" y="1559"/>
                  </a:lnTo>
                  <a:lnTo>
                    <a:pt x="3000" y="1572"/>
                  </a:lnTo>
                  <a:lnTo>
                    <a:pt x="3006" y="1584"/>
                  </a:lnTo>
                  <a:lnTo>
                    <a:pt x="3013" y="1596"/>
                  </a:lnTo>
                  <a:lnTo>
                    <a:pt x="3020" y="1607"/>
                  </a:lnTo>
                  <a:lnTo>
                    <a:pt x="3028" y="1617"/>
                  </a:lnTo>
                  <a:lnTo>
                    <a:pt x="3037" y="1628"/>
                  </a:lnTo>
                  <a:lnTo>
                    <a:pt x="3046" y="1638"/>
                  </a:lnTo>
                  <a:lnTo>
                    <a:pt x="3055" y="1647"/>
                  </a:lnTo>
                  <a:lnTo>
                    <a:pt x="3065" y="1656"/>
                  </a:lnTo>
                  <a:lnTo>
                    <a:pt x="3076" y="1665"/>
                  </a:lnTo>
                  <a:lnTo>
                    <a:pt x="3086" y="1673"/>
                  </a:lnTo>
                  <a:lnTo>
                    <a:pt x="3098" y="1680"/>
                  </a:lnTo>
                  <a:lnTo>
                    <a:pt x="3110" y="1687"/>
                  </a:lnTo>
                  <a:lnTo>
                    <a:pt x="3123" y="1693"/>
                  </a:lnTo>
                  <a:lnTo>
                    <a:pt x="3135" y="1699"/>
                  </a:lnTo>
                  <a:lnTo>
                    <a:pt x="3148" y="1704"/>
                  </a:lnTo>
                  <a:lnTo>
                    <a:pt x="3163" y="1709"/>
                  </a:lnTo>
                  <a:lnTo>
                    <a:pt x="3177" y="1713"/>
                  </a:lnTo>
                  <a:lnTo>
                    <a:pt x="3191" y="1716"/>
                  </a:lnTo>
                  <a:lnTo>
                    <a:pt x="3206" y="1719"/>
                  </a:lnTo>
                  <a:lnTo>
                    <a:pt x="3221" y="1722"/>
                  </a:lnTo>
                  <a:lnTo>
                    <a:pt x="3237" y="1723"/>
                  </a:lnTo>
                  <a:lnTo>
                    <a:pt x="3254" y="1724"/>
                  </a:lnTo>
                  <a:lnTo>
                    <a:pt x="3270" y="1724"/>
                  </a:lnTo>
                  <a:lnTo>
                    <a:pt x="3287" y="1724"/>
                  </a:lnTo>
                  <a:lnTo>
                    <a:pt x="3304" y="1723"/>
                  </a:lnTo>
                  <a:lnTo>
                    <a:pt x="3319" y="1722"/>
                  </a:lnTo>
                  <a:lnTo>
                    <a:pt x="3335" y="1719"/>
                  </a:lnTo>
                  <a:lnTo>
                    <a:pt x="3350" y="1717"/>
                  </a:lnTo>
                  <a:lnTo>
                    <a:pt x="3365" y="1714"/>
                  </a:lnTo>
                  <a:lnTo>
                    <a:pt x="3379" y="1710"/>
                  </a:lnTo>
                  <a:lnTo>
                    <a:pt x="3393" y="1706"/>
                  </a:lnTo>
                  <a:lnTo>
                    <a:pt x="3406" y="1702"/>
                  </a:lnTo>
                  <a:lnTo>
                    <a:pt x="3419" y="1697"/>
                  </a:lnTo>
                  <a:lnTo>
                    <a:pt x="3445" y="1686"/>
                  </a:lnTo>
                  <a:lnTo>
                    <a:pt x="3456" y="1680"/>
                  </a:lnTo>
                  <a:lnTo>
                    <a:pt x="3468" y="1675"/>
                  </a:lnTo>
                  <a:lnTo>
                    <a:pt x="3489" y="1663"/>
                  </a:lnTo>
                  <a:lnTo>
                    <a:pt x="3426" y="1532"/>
                  </a:lnTo>
                  <a:lnTo>
                    <a:pt x="3413" y="1539"/>
                  </a:lnTo>
                  <a:lnTo>
                    <a:pt x="3397" y="1548"/>
                  </a:lnTo>
                  <a:lnTo>
                    <a:pt x="3380" y="1556"/>
                  </a:lnTo>
                  <a:lnTo>
                    <a:pt x="3361" y="1564"/>
                  </a:lnTo>
                  <a:lnTo>
                    <a:pt x="3340" y="1570"/>
                  </a:lnTo>
                  <a:lnTo>
                    <a:pt x="3330" y="1573"/>
                  </a:lnTo>
                  <a:lnTo>
                    <a:pt x="3319" y="1575"/>
                  </a:lnTo>
                  <a:lnTo>
                    <a:pt x="3308" y="1577"/>
                  </a:lnTo>
                  <a:lnTo>
                    <a:pt x="3296" y="1578"/>
                  </a:lnTo>
                  <a:lnTo>
                    <a:pt x="3285" y="1579"/>
                  </a:lnTo>
                  <a:lnTo>
                    <a:pt x="3273" y="1579"/>
                  </a:lnTo>
                  <a:lnTo>
                    <a:pt x="3259" y="1579"/>
                  </a:lnTo>
                  <a:lnTo>
                    <a:pt x="3247" y="1578"/>
                  </a:lnTo>
                  <a:lnTo>
                    <a:pt x="3235" y="1576"/>
                  </a:lnTo>
                  <a:lnTo>
                    <a:pt x="3223" y="1574"/>
                  </a:lnTo>
                  <a:lnTo>
                    <a:pt x="3217" y="1573"/>
                  </a:lnTo>
                  <a:lnTo>
                    <a:pt x="3211" y="1570"/>
                  </a:lnTo>
                  <a:lnTo>
                    <a:pt x="3201" y="1566"/>
                  </a:lnTo>
                  <a:lnTo>
                    <a:pt x="3191" y="1562"/>
                  </a:lnTo>
                  <a:lnTo>
                    <a:pt x="3183" y="1556"/>
                  </a:lnTo>
                  <a:lnTo>
                    <a:pt x="3174" y="1549"/>
                  </a:lnTo>
                  <a:lnTo>
                    <a:pt x="3166" y="1543"/>
                  </a:lnTo>
                  <a:lnTo>
                    <a:pt x="3159" y="1535"/>
                  </a:lnTo>
                  <a:lnTo>
                    <a:pt x="3153" y="1526"/>
                  </a:lnTo>
                  <a:lnTo>
                    <a:pt x="3147" y="1516"/>
                  </a:lnTo>
                  <a:lnTo>
                    <a:pt x="3143" y="1506"/>
                  </a:lnTo>
                  <a:lnTo>
                    <a:pt x="3139" y="1495"/>
                  </a:lnTo>
                  <a:lnTo>
                    <a:pt x="3138" y="1489"/>
                  </a:lnTo>
                  <a:lnTo>
                    <a:pt x="3137" y="1483"/>
                  </a:lnTo>
                  <a:lnTo>
                    <a:pt x="3517" y="1483"/>
                  </a:lnTo>
                  <a:lnTo>
                    <a:pt x="3517" y="1444"/>
                  </a:lnTo>
                  <a:lnTo>
                    <a:pt x="3517" y="1426"/>
                  </a:lnTo>
                  <a:lnTo>
                    <a:pt x="3516" y="1409"/>
                  </a:lnTo>
                  <a:lnTo>
                    <a:pt x="3515" y="1393"/>
                  </a:lnTo>
                  <a:lnTo>
                    <a:pt x="3512" y="1376"/>
                  </a:lnTo>
                  <a:lnTo>
                    <a:pt x="3509" y="1362"/>
                  </a:lnTo>
                  <a:lnTo>
                    <a:pt x="3508" y="1354"/>
                  </a:lnTo>
                  <a:lnTo>
                    <a:pt x="3507" y="1346"/>
                  </a:lnTo>
                  <a:lnTo>
                    <a:pt x="3502" y="1332"/>
                  </a:lnTo>
                  <a:lnTo>
                    <a:pt x="3498" y="1318"/>
                  </a:lnTo>
                  <a:lnTo>
                    <a:pt x="3494" y="1305"/>
                  </a:lnTo>
                  <a:lnTo>
                    <a:pt x="3488" y="1293"/>
                  </a:lnTo>
                  <a:lnTo>
                    <a:pt x="3483" y="1281"/>
                  </a:lnTo>
                  <a:lnTo>
                    <a:pt x="3476" y="1269"/>
                  </a:lnTo>
                  <a:lnTo>
                    <a:pt x="3469" y="1259"/>
                  </a:lnTo>
                  <a:lnTo>
                    <a:pt x="3461" y="1248"/>
                  </a:lnTo>
                  <a:lnTo>
                    <a:pt x="3454" y="1239"/>
                  </a:lnTo>
                  <a:lnTo>
                    <a:pt x="3446" y="1229"/>
                  </a:lnTo>
                  <a:lnTo>
                    <a:pt x="3437" y="1222"/>
                  </a:lnTo>
                  <a:lnTo>
                    <a:pt x="3427" y="1214"/>
                  </a:lnTo>
                  <a:lnTo>
                    <a:pt x="3418" y="1206"/>
                  </a:lnTo>
                  <a:lnTo>
                    <a:pt x="3407" y="1199"/>
                  </a:lnTo>
                  <a:lnTo>
                    <a:pt x="3397" y="1193"/>
                  </a:lnTo>
                  <a:lnTo>
                    <a:pt x="3386" y="1187"/>
                  </a:lnTo>
                  <a:lnTo>
                    <a:pt x="3375" y="1182"/>
                  </a:lnTo>
                  <a:lnTo>
                    <a:pt x="3363" y="1177"/>
                  </a:lnTo>
                  <a:lnTo>
                    <a:pt x="3350" y="1173"/>
                  </a:lnTo>
                  <a:lnTo>
                    <a:pt x="3337" y="1169"/>
                  </a:lnTo>
                  <a:lnTo>
                    <a:pt x="3325" y="1167"/>
                  </a:lnTo>
                  <a:lnTo>
                    <a:pt x="3311" y="1164"/>
                  </a:lnTo>
                  <a:lnTo>
                    <a:pt x="3297" y="1163"/>
                  </a:lnTo>
                  <a:lnTo>
                    <a:pt x="3284" y="1161"/>
                  </a:lnTo>
                  <a:lnTo>
                    <a:pt x="3269" y="1161"/>
                  </a:lnTo>
                  <a:lnTo>
                    <a:pt x="3254" y="1160"/>
                  </a:lnTo>
                  <a:close/>
                  <a:moveTo>
                    <a:pt x="3248" y="1283"/>
                  </a:moveTo>
                  <a:lnTo>
                    <a:pt x="3258" y="1284"/>
                  </a:lnTo>
                  <a:lnTo>
                    <a:pt x="3268" y="1285"/>
                  </a:lnTo>
                  <a:lnTo>
                    <a:pt x="3278" y="1287"/>
                  </a:lnTo>
                  <a:lnTo>
                    <a:pt x="3287" y="1289"/>
                  </a:lnTo>
                  <a:lnTo>
                    <a:pt x="3296" y="1293"/>
                  </a:lnTo>
                  <a:lnTo>
                    <a:pt x="3305" y="1297"/>
                  </a:lnTo>
                  <a:lnTo>
                    <a:pt x="3311" y="1303"/>
                  </a:lnTo>
                  <a:lnTo>
                    <a:pt x="3319" y="1308"/>
                  </a:lnTo>
                  <a:lnTo>
                    <a:pt x="3323" y="1312"/>
                  </a:lnTo>
                  <a:lnTo>
                    <a:pt x="3326" y="1315"/>
                  </a:lnTo>
                  <a:lnTo>
                    <a:pt x="3331" y="1323"/>
                  </a:lnTo>
                  <a:lnTo>
                    <a:pt x="3336" y="1331"/>
                  </a:lnTo>
                  <a:lnTo>
                    <a:pt x="3340" y="1339"/>
                  </a:lnTo>
                  <a:lnTo>
                    <a:pt x="3344" y="1348"/>
                  </a:lnTo>
                  <a:lnTo>
                    <a:pt x="3347" y="1358"/>
                  </a:lnTo>
                  <a:lnTo>
                    <a:pt x="3348" y="1364"/>
                  </a:lnTo>
                  <a:lnTo>
                    <a:pt x="3348" y="1369"/>
                  </a:lnTo>
                  <a:lnTo>
                    <a:pt x="3349" y="1375"/>
                  </a:lnTo>
                  <a:lnTo>
                    <a:pt x="3349" y="1381"/>
                  </a:lnTo>
                  <a:lnTo>
                    <a:pt x="3138" y="1381"/>
                  </a:lnTo>
                  <a:lnTo>
                    <a:pt x="3139" y="1368"/>
                  </a:lnTo>
                  <a:lnTo>
                    <a:pt x="3143" y="1357"/>
                  </a:lnTo>
                  <a:lnTo>
                    <a:pt x="3146" y="1346"/>
                  </a:lnTo>
                  <a:lnTo>
                    <a:pt x="3150" y="1336"/>
                  </a:lnTo>
                  <a:lnTo>
                    <a:pt x="3153" y="1332"/>
                  </a:lnTo>
                  <a:lnTo>
                    <a:pt x="3155" y="1327"/>
                  </a:lnTo>
                  <a:lnTo>
                    <a:pt x="3160" y="1319"/>
                  </a:lnTo>
                  <a:lnTo>
                    <a:pt x="3167" y="1313"/>
                  </a:lnTo>
                  <a:lnTo>
                    <a:pt x="3174" y="1306"/>
                  </a:lnTo>
                  <a:lnTo>
                    <a:pt x="3181" y="1301"/>
                  </a:lnTo>
                  <a:lnTo>
                    <a:pt x="3189" y="1296"/>
                  </a:lnTo>
                  <a:lnTo>
                    <a:pt x="3198" y="1292"/>
                  </a:lnTo>
                  <a:lnTo>
                    <a:pt x="3207" y="1288"/>
                  </a:lnTo>
                  <a:lnTo>
                    <a:pt x="3217" y="1286"/>
                  </a:lnTo>
                  <a:lnTo>
                    <a:pt x="3227" y="1284"/>
                  </a:lnTo>
                  <a:lnTo>
                    <a:pt x="3237" y="1283"/>
                  </a:lnTo>
                  <a:lnTo>
                    <a:pt x="3248" y="1283"/>
                  </a:lnTo>
                  <a:close/>
                  <a:moveTo>
                    <a:pt x="292" y="601"/>
                  </a:moveTo>
                  <a:lnTo>
                    <a:pt x="292" y="614"/>
                  </a:lnTo>
                  <a:lnTo>
                    <a:pt x="292" y="626"/>
                  </a:lnTo>
                  <a:lnTo>
                    <a:pt x="290" y="651"/>
                  </a:lnTo>
                  <a:lnTo>
                    <a:pt x="288" y="662"/>
                  </a:lnTo>
                  <a:lnTo>
                    <a:pt x="286" y="672"/>
                  </a:lnTo>
                  <a:lnTo>
                    <a:pt x="283" y="683"/>
                  </a:lnTo>
                  <a:lnTo>
                    <a:pt x="280" y="693"/>
                  </a:lnTo>
                  <a:lnTo>
                    <a:pt x="277" y="702"/>
                  </a:lnTo>
                  <a:lnTo>
                    <a:pt x="273" y="712"/>
                  </a:lnTo>
                  <a:lnTo>
                    <a:pt x="269" y="721"/>
                  </a:lnTo>
                  <a:lnTo>
                    <a:pt x="265" y="729"/>
                  </a:lnTo>
                  <a:lnTo>
                    <a:pt x="259" y="736"/>
                  </a:lnTo>
                  <a:lnTo>
                    <a:pt x="253" y="744"/>
                  </a:lnTo>
                  <a:lnTo>
                    <a:pt x="248" y="751"/>
                  </a:lnTo>
                  <a:lnTo>
                    <a:pt x="242" y="757"/>
                  </a:lnTo>
                  <a:lnTo>
                    <a:pt x="236" y="763"/>
                  </a:lnTo>
                  <a:lnTo>
                    <a:pt x="228" y="770"/>
                  </a:lnTo>
                  <a:lnTo>
                    <a:pt x="221" y="774"/>
                  </a:lnTo>
                  <a:lnTo>
                    <a:pt x="213" y="780"/>
                  </a:lnTo>
                  <a:lnTo>
                    <a:pt x="205" y="784"/>
                  </a:lnTo>
                  <a:lnTo>
                    <a:pt x="196" y="789"/>
                  </a:lnTo>
                  <a:lnTo>
                    <a:pt x="187" y="792"/>
                  </a:lnTo>
                  <a:lnTo>
                    <a:pt x="178" y="795"/>
                  </a:lnTo>
                  <a:lnTo>
                    <a:pt x="168" y="797"/>
                  </a:lnTo>
                  <a:lnTo>
                    <a:pt x="157" y="801"/>
                  </a:lnTo>
                  <a:lnTo>
                    <a:pt x="147" y="803"/>
                  </a:lnTo>
                  <a:lnTo>
                    <a:pt x="136" y="804"/>
                  </a:lnTo>
                  <a:lnTo>
                    <a:pt x="123" y="805"/>
                  </a:lnTo>
                  <a:lnTo>
                    <a:pt x="111" y="806"/>
                  </a:lnTo>
                  <a:lnTo>
                    <a:pt x="99" y="807"/>
                  </a:lnTo>
                  <a:lnTo>
                    <a:pt x="86" y="807"/>
                  </a:lnTo>
                  <a:lnTo>
                    <a:pt x="29" y="807"/>
                  </a:lnTo>
                  <a:lnTo>
                    <a:pt x="29" y="641"/>
                  </a:lnTo>
                  <a:lnTo>
                    <a:pt x="68" y="641"/>
                  </a:lnTo>
                  <a:lnTo>
                    <a:pt x="78" y="640"/>
                  </a:lnTo>
                  <a:lnTo>
                    <a:pt x="82" y="639"/>
                  </a:lnTo>
                  <a:lnTo>
                    <a:pt x="87" y="637"/>
                  </a:lnTo>
                  <a:lnTo>
                    <a:pt x="91" y="635"/>
                  </a:lnTo>
                  <a:lnTo>
                    <a:pt x="96" y="633"/>
                  </a:lnTo>
                  <a:lnTo>
                    <a:pt x="99" y="630"/>
                  </a:lnTo>
                  <a:lnTo>
                    <a:pt x="102" y="626"/>
                  </a:lnTo>
                  <a:lnTo>
                    <a:pt x="108" y="619"/>
                  </a:lnTo>
                  <a:lnTo>
                    <a:pt x="110" y="614"/>
                  </a:lnTo>
                  <a:lnTo>
                    <a:pt x="111" y="610"/>
                  </a:lnTo>
                  <a:lnTo>
                    <a:pt x="112" y="604"/>
                  </a:lnTo>
                  <a:lnTo>
                    <a:pt x="113" y="597"/>
                  </a:lnTo>
                  <a:lnTo>
                    <a:pt x="115" y="591"/>
                  </a:lnTo>
                  <a:lnTo>
                    <a:pt x="115" y="584"/>
                  </a:lnTo>
                  <a:lnTo>
                    <a:pt x="115" y="0"/>
                  </a:lnTo>
                  <a:lnTo>
                    <a:pt x="292" y="0"/>
                  </a:lnTo>
                  <a:lnTo>
                    <a:pt x="292" y="601"/>
                  </a:lnTo>
                  <a:close/>
                  <a:moveTo>
                    <a:pt x="929" y="539"/>
                  </a:moveTo>
                  <a:lnTo>
                    <a:pt x="929" y="554"/>
                  </a:lnTo>
                  <a:lnTo>
                    <a:pt x="928" y="570"/>
                  </a:lnTo>
                  <a:lnTo>
                    <a:pt x="925" y="584"/>
                  </a:lnTo>
                  <a:lnTo>
                    <a:pt x="923" y="600"/>
                  </a:lnTo>
                  <a:lnTo>
                    <a:pt x="920" y="614"/>
                  </a:lnTo>
                  <a:lnTo>
                    <a:pt x="917" y="627"/>
                  </a:lnTo>
                  <a:lnTo>
                    <a:pt x="912" y="641"/>
                  </a:lnTo>
                  <a:lnTo>
                    <a:pt x="907" y="654"/>
                  </a:lnTo>
                  <a:lnTo>
                    <a:pt x="901" y="667"/>
                  </a:lnTo>
                  <a:lnTo>
                    <a:pt x="894" y="680"/>
                  </a:lnTo>
                  <a:lnTo>
                    <a:pt x="888" y="691"/>
                  </a:lnTo>
                  <a:lnTo>
                    <a:pt x="880" y="703"/>
                  </a:lnTo>
                  <a:lnTo>
                    <a:pt x="872" y="713"/>
                  </a:lnTo>
                  <a:lnTo>
                    <a:pt x="863" y="724"/>
                  </a:lnTo>
                  <a:lnTo>
                    <a:pt x="854" y="734"/>
                  </a:lnTo>
                  <a:lnTo>
                    <a:pt x="844" y="743"/>
                  </a:lnTo>
                  <a:lnTo>
                    <a:pt x="834" y="753"/>
                  </a:lnTo>
                  <a:lnTo>
                    <a:pt x="823" y="761"/>
                  </a:lnTo>
                  <a:lnTo>
                    <a:pt x="812" y="769"/>
                  </a:lnTo>
                  <a:lnTo>
                    <a:pt x="800" y="776"/>
                  </a:lnTo>
                  <a:lnTo>
                    <a:pt x="789" y="783"/>
                  </a:lnTo>
                  <a:lnTo>
                    <a:pt x="776" y="790"/>
                  </a:lnTo>
                  <a:lnTo>
                    <a:pt x="763" y="795"/>
                  </a:lnTo>
                  <a:lnTo>
                    <a:pt x="750" y="801"/>
                  </a:lnTo>
                  <a:lnTo>
                    <a:pt x="736" y="805"/>
                  </a:lnTo>
                  <a:lnTo>
                    <a:pt x="722" y="810"/>
                  </a:lnTo>
                  <a:lnTo>
                    <a:pt x="708" y="813"/>
                  </a:lnTo>
                  <a:lnTo>
                    <a:pt x="692" y="816"/>
                  </a:lnTo>
                  <a:lnTo>
                    <a:pt x="678" y="819"/>
                  </a:lnTo>
                  <a:lnTo>
                    <a:pt x="662" y="820"/>
                  </a:lnTo>
                  <a:lnTo>
                    <a:pt x="647" y="821"/>
                  </a:lnTo>
                  <a:lnTo>
                    <a:pt x="630" y="821"/>
                  </a:lnTo>
                  <a:lnTo>
                    <a:pt x="614" y="821"/>
                  </a:lnTo>
                  <a:lnTo>
                    <a:pt x="599" y="820"/>
                  </a:lnTo>
                  <a:lnTo>
                    <a:pt x="583" y="819"/>
                  </a:lnTo>
                  <a:lnTo>
                    <a:pt x="568" y="816"/>
                  </a:lnTo>
                  <a:lnTo>
                    <a:pt x="553" y="813"/>
                  </a:lnTo>
                  <a:lnTo>
                    <a:pt x="539" y="810"/>
                  </a:lnTo>
                  <a:lnTo>
                    <a:pt x="526" y="805"/>
                  </a:lnTo>
                  <a:lnTo>
                    <a:pt x="511" y="801"/>
                  </a:lnTo>
                  <a:lnTo>
                    <a:pt x="498" y="795"/>
                  </a:lnTo>
                  <a:lnTo>
                    <a:pt x="486" y="790"/>
                  </a:lnTo>
                  <a:lnTo>
                    <a:pt x="473" y="783"/>
                  </a:lnTo>
                  <a:lnTo>
                    <a:pt x="461" y="776"/>
                  </a:lnTo>
                  <a:lnTo>
                    <a:pt x="449" y="769"/>
                  </a:lnTo>
                  <a:lnTo>
                    <a:pt x="438" y="761"/>
                  </a:lnTo>
                  <a:lnTo>
                    <a:pt x="428" y="753"/>
                  </a:lnTo>
                  <a:lnTo>
                    <a:pt x="417" y="743"/>
                  </a:lnTo>
                  <a:lnTo>
                    <a:pt x="408" y="734"/>
                  </a:lnTo>
                  <a:lnTo>
                    <a:pt x="398" y="724"/>
                  </a:lnTo>
                  <a:lnTo>
                    <a:pt x="390" y="713"/>
                  </a:lnTo>
                  <a:lnTo>
                    <a:pt x="381" y="703"/>
                  </a:lnTo>
                  <a:lnTo>
                    <a:pt x="375" y="691"/>
                  </a:lnTo>
                  <a:lnTo>
                    <a:pt x="367" y="680"/>
                  </a:lnTo>
                  <a:lnTo>
                    <a:pt x="361" y="667"/>
                  </a:lnTo>
                  <a:lnTo>
                    <a:pt x="355" y="654"/>
                  </a:lnTo>
                  <a:lnTo>
                    <a:pt x="350" y="641"/>
                  </a:lnTo>
                  <a:lnTo>
                    <a:pt x="346" y="627"/>
                  </a:lnTo>
                  <a:lnTo>
                    <a:pt x="341" y="614"/>
                  </a:lnTo>
                  <a:lnTo>
                    <a:pt x="338" y="600"/>
                  </a:lnTo>
                  <a:lnTo>
                    <a:pt x="336" y="584"/>
                  </a:lnTo>
                  <a:lnTo>
                    <a:pt x="335" y="570"/>
                  </a:lnTo>
                  <a:lnTo>
                    <a:pt x="333" y="554"/>
                  </a:lnTo>
                  <a:lnTo>
                    <a:pt x="332" y="539"/>
                  </a:lnTo>
                  <a:lnTo>
                    <a:pt x="333" y="523"/>
                  </a:lnTo>
                  <a:lnTo>
                    <a:pt x="335" y="508"/>
                  </a:lnTo>
                  <a:lnTo>
                    <a:pt x="336" y="492"/>
                  </a:lnTo>
                  <a:lnTo>
                    <a:pt x="338" y="478"/>
                  </a:lnTo>
                  <a:lnTo>
                    <a:pt x="341" y="463"/>
                  </a:lnTo>
                  <a:lnTo>
                    <a:pt x="346" y="449"/>
                  </a:lnTo>
                  <a:lnTo>
                    <a:pt x="350" y="435"/>
                  </a:lnTo>
                  <a:lnTo>
                    <a:pt x="355" y="422"/>
                  </a:lnTo>
                  <a:lnTo>
                    <a:pt x="361" y="410"/>
                  </a:lnTo>
                  <a:lnTo>
                    <a:pt x="367" y="398"/>
                  </a:lnTo>
                  <a:lnTo>
                    <a:pt x="375" y="385"/>
                  </a:lnTo>
                  <a:lnTo>
                    <a:pt x="381" y="374"/>
                  </a:lnTo>
                  <a:lnTo>
                    <a:pt x="390" y="363"/>
                  </a:lnTo>
                  <a:lnTo>
                    <a:pt x="398" y="353"/>
                  </a:lnTo>
                  <a:lnTo>
                    <a:pt x="408" y="343"/>
                  </a:lnTo>
                  <a:lnTo>
                    <a:pt x="417" y="333"/>
                  </a:lnTo>
                  <a:lnTo>
                    <a:pt x="428" y="324"/>
                  </a:lnTo>
                  <a:lnTo>
                    <a:pt x="438" y="315"/>
                  </a:lnTo>
                  <a:lnTo>
                    <a:pt x="449" y="308"/>
                  </a:lnTo>
                  <a:lnTo>
                    <a:pt x="461" y="300"/>
                  </a:lnTo>
                  <a:lnTo>
                    <a:pt x="473" y="293"/>
                  </a:lnTo>
                  <a:lnTo>
                    <a:pt x="486" y="288"/>
                  </a:lnTo>
                  <a:lnTo>
                    <a:pt x="498" y="281"/>
                  </a:lnTo>
                  <a:lnTo>
                    <a:pt x="511" y="276"/>
                  </a:lnTo>
                  <a:lnTo>
                    <a:pt x="526" y="271"/>
                  </a:lnTo>
                  <a:lnTo>
                    <a:pt x="539" y="268"/>
                  </a:lnTo>
                  <a:lnTo>
                    <a:pt x="553" y="264"/>
                  </a:lnTo>
                  <a:lnTo>
                    <a:pt x="568" y="261"/>
                  </a:lnTo>
                  <a:lnTo>
                    <a:pt x="583" y="259"/>
                  </a:lnTo>
                  <a:lnTo>
                    <a:pt x="599" y="258"/>
                  </a:lnTo>
                  <a:lnTo>
                    <a:pt x="614" y="256"/>
                  </a:lnTo>
                  <a:lnTo>
                    <a:pt x="630" y="255"/>
                  </a:lnTo>
                  <a:lnTo>
                    <a:pt x="647" y="256"/>
                  </a:lnTo>
                  <a:lnTo>
                    <a:pt x="662" y="258"/>
                  </a:lnTo>
                  <a:lnTo>
                    <a:pt x="678" y="259"/>
                  </a:lnTo>
                  <a:lnTo>
                    <a:pt x="692" y="261"/>
                  </a:lnTo>
                  <a:lnTo>
                    <a:pt x="708" y="264"/>
                  </a:lnTo>
                  <a:lnTo>
                    <a:pt x="722" y="268"/>
                  </a:lnTo>
                  <a:lnTo>
                    <a:pt x="736" y="271"/>
                  </a:lnTo>
                  <a:lnTo>
                    <a:pt x="750" y="276"/>
                  </a:lnTo>
                  <a:lnTo>
                    <a:pt x="763" y="281"/>
                  </a:lnTo>
                  <a:lnTo>
                    <a:pt x="776" y="288"/>
                  </a:lnTo>
                  <a:lnTo>
                    <a:pt x="789" y="293"/>
                  </a:lnTo>
                  <a:lnTo>
                    <a:pt x="800" y="300"/>
                  </a:lnTo>
                  <a:lnTo>
                    <a:pt x="812" y="308"/>
                  </a:lnTo>
                  <a:lnTo>
                    <a:pt x="823" y="315"/>
                  </a:lnTo>
                  <a:lnTo>
                    <a:pt x="834" y="324"/>
                  </a:lnTo>
                  <a:lnTo>
                    <a:pt x="844" y="333"/>
                  </a:lnTo>
                  <a:lnTo>
                    <a:pt x="854" y="343"/>
                  </a:lnTo>
                  <a:lnTo>
                    <a:pt x="863" y="353"/>
                  </a:lnTo>
                  <a:lnTo>
                    <a:pt x="872" y="363"/>
                  </a:lnTo>
                  <a:lnTo>
                    <a:pt x="880" y="374"/>
                  </a:lnTo>
                  <a:lnTo>
                    <a:pt x="888" y="385"/>
                  </a:lnTo>
                  <a:lnTo>
                    <a:pt x="894" y="398"/>
                  </a:lnTo>
                  <a:lnTo>
                    <a:pt x="901" y="410"/>
                  </a:lnTo>
                  <a:lnTo>
                    <a:pt x="907" y="422"/>
                  </a:lnTo>
                  <a:lnTo>
                    <a:pt x="912" y="435"/>
                  </a:lnTo>
                  <a:lnTo>
                    <a:pt x="917" y="449"/>
                  </a:lnTo>
                  <a:lnTo>
                    <a:pt x="920" y="463"/>
                  </a:lnTo>
                  <a:lnTo>
                    <a:pt x="923" y="478"/>
                  </a:lnTo>
                  <a:lnTo>
                    <a:pt x="925" y="492"/>
                  </a:lnTo>
                  <a:lnTo>
                    <a:pt x="928" y="508"/>
                  </a:lnTo>
                  <a:lnTo>
                    <a:pt x="929" y="523"/>
                  </a:lnTo>
                  <a:lnTo>
                    <a:pt x="929" y="539"/>
                  </a:lnTo>
                  <a:close/>
                  <a:moveTo>
                    <a:pt x="506" y="539"/>
                  </a:moveTo>
                  <a:lnTo>
                    <a:pt x="507" y="552"/>
                  </a:lnTo>
                  <a:lnTo>
                    <a:pt x="509" y="565"/>
                  </a:lnTo>
                  <a:lnTo>
                    <a:pt x="511" y="577"/>
                  </a:lnTo>
                  <a:lnTo>
                    <a:pt x="513" y="584"/>
                  </a:lnTo>
                  <a:lnTo>
                    <a:pt x="516" y="590"/>
                  </a:lnTo>
                  <a:lnTo>
                    <a:pt x="521" y="601"/>
                  </a:lnTo>
                  <a:lnTo>
                    <a:pt x="527" y="611"/>
                  </a:lnTo>
                  <a:lnTo>
                    <a:pt x="534" y="621"/>
                  </a:lnTo>
                  <a:lnTo>
                    <a:pt x="542" y="629"/>
                  </a:lnTo>
                  <a:lnTo>
                    <a:pt x="547" y="633"/>
                  </a:lnTo>
                  <a:lnTo>
                    <a:pt x="551" y="636"/>
                  </a:lnTo>
                  <a:lnTo>
                    <a:pt x="556" y="640"/>
                  </a:lnTo>
                  <a:lnTo>
                    <a:pt x="561" y="643"/>
                  </a:lnTo>
                  <a:lnTo>
                    <a:pt x="571" y="649"/>
                  </a:lnTo>
                  <a:lnTo>
                    <a:pt x="582" y="654"/>
                  </a:lnTo>
                  <a:lnTo>
                    <a:pt x="593" y="657"/>
                  </a:lnTo>
                  <a:lnTo>
                    <a:pt x="606" y="661"/>
                  </a:lnTo>
                  <a:lnTo>
                    <a:pt x="611" y="661"/>
                  </a:lnTo>
                  <a:lnTo>
                    <a:pt x="618" y="662"/>
                  </a:lnTo>
                  <a:lnTo>
                    <a:pt x="630" y="663"/>
                  </a:lnTo>
                  <a:lnTo>
                    <a:pt x="643" y="662"/>
                  </a:lnTo>
                  <a:lnTo>
                    <a:pt x="656" y="661"/>
                  </a:lnTo>
                  <a:lnTo>
                    <a:pt x="668" y="657"/>
                  </a:lnTo>
                  <a:lnTo>
                    <a:pt x="673" y="656"/>
                  </a:lnTo>
                  <a:lnTo>
                    <a:pt x="679" y="654"/>
                  </a:lnTo>
                  <a:lnTo>
                    <a:pt x="690" y="649"/>
                  </a:lnTo>
                  <a:lnTo>
                    <a:pt x="696" y="646"/>
                  </a:lnTo>
                  <a:lnTo>
                    <a:pt x="700" y="643"/>
                  </a:lnTo>
                  <a:lnTo>
                    <a:pt x="706" y="640"/>
                  </a:lnTo>
                  <a:lnTo>
                    <a:pt x="710" y="636"/>
                  </a:lnTo>
                  <a:lnTo>
                    <a:pt x="719" y="629"/>
                  </a:lnTo>
                  <a:lnTo>
                    <a:pt x="727" y="621"/>
                  </a:lnTo>
                  <a:lnTo>
                    <a:pt x="733" y="611"/>
                  </a:lnTo>
                  <a:lnTo>
                    <a:pt x="740" y="601"/>
                  </a:lnTo>
                  <a:lnTo>
                    <a:pt x="742" y="595"/>
                  </a:lnTo>
                  <a:lnTo>
                    <a:pt x="744" y="590"/>
                  </a:lnTo>
                  <a:lnTo>
                    <a:pt x="749" y="577"/>
                  </a:lnTo>
                  <a:lnTo>
                    <a:pt x="752" y="565"/>
                  </a:lnTo>
                  <a:lnTo>
                    <a:pt x="753" y="552"/>
                  </a:lnTo>
                  <a:lnTo>
                    <a:pt x="754" y="539"/>
                  </a:lnTo>
                  <a:lnTo>
                    <a:pt x="753" y="524"/>
                  </a:lnTo>
                  <a:lnTo>
                    <a:pt x="753" y="517"/>
                  </a:lnTo>
                  <a:lnTo>
                    <a:pt x="752" y="511"/>
                  </a:lnTo>
                  <a:lnTo>
                    <a:pt x="749" y="499"/>
                  </a:lnTo>
                  <a:lnTo>
                    <a:pt x="747" y="493"/>
                  </a:lnTo>
                  <a:lnTo>
                    <a:pt x="744" y="488"/>
                  </a:lnTo>
                  <a:lnTo>
                    <a:pt x="740" y="476"/>
                  </a:lnTo>
                  <a:lnTo>
                    <a:pt x="733" y="465"/>
                  </a:lnTo>
                  <a:lnTo>
                    <a:pt x="727" y="456"/>
                  </a:lnTo>
                  <a:lnTo>
                    <a:pt x="719" y="448"/>
                  </a:lnTo>
                  <a:lnTo>
                    <a:pt x="714" y="444"/>
                  </a:lnTo>
                  <a:lnTo>
                    <a:pt x="710" y="440"/>
                  </a:lnTo>
                  <a:lnTo>
                    <a:pt x="706" y="436"/>
                  </a:lnTo>
                  <a:lnTo>
                    <a:pt x="700" y="433"/>
                  </a:lnTo>
                  <a:lnTo>
                    <a:pt x="690" y="428"/>
                  </a:lnTo>
                  <a:lnTo>
                    <a:pt x="679" y="423"/>
                  </a:lnTo>
                  <a:lnTo>
                    <a:pt x="668" y="420"/>
                  </a:lnTo>
                  <a:lnTo>
                    <a:pt x="656" y="416"/>
                  </a:lnTo>
                  <a:lnTo>
                    <a:pt x="643" y="415"/>
                  </a:lnTo>
                  <a:lnTo>
                    <a:pt x="630" y="414"/>
                  </a:lnTo>
                  <a:lnTo>
                    <a:pt x="618" y="415"/>
                  </a:lnTo>
                  <a:lnTo>
                    <a:pt x="606" y="416"/>
                  </a:lnTo>
                  <a:lnTo>
                    <a:pt x="593" y="420"/>
                  </a:lnTo>
                  <a:lnTo>
                    <a:pt x="588" y="421"/>
                  </a:lnTo>
                  <a:lnTo>
                    <a:pt x="582" y="423"/>
                  </a:lnTo>
                  <a:lnTo>
                    <a:pt x="571" y="428"/>
                  </a:lnTo>
                  <a:lnTo>
                    <a:pt x="566" y="431"/>
                  </a:lnTo>
                  <a:lnTo>
                    <a:pt x="561" y="433"/>
                  </a:lnTo>
                  <a:lnTo>
                    <a:pt x="556" y="436"/>
                  </a:lnTo>
                  <a:lnTo>
                    <a:pt x="551" y="440"/>
                  </a:lnTo>
                  <a:lnTo>
                    <a:pt x="542" y="448"/>
                  </a:lnTo>
                  <a:lnTo>
                    <a:pt x="534" y="456"/>
                  </a:lnTo>
                  <a:lnTo>
                    <a:pt x="527" y="465"/>
                  </a:lnTo>
                  <a:lnTo>
                    <a:pt x="521" y="476"/>
                  </a:lnTo>
                  <a:lnTo>
                    <a:pt x="516" y="488"/>
                  </a:lnTo>
                  <a:lnTo>
                    <a:pt x="511" y="499"/>
                  </a:lnTo>
                  <a:lnTo>
                    <a:pt x="509" y="511"/>
                  </a:lnTo>
                  <a:lnTo>
                    <a:pt x="507" y="524"/>
                  </a:lnTo>
                  <a:lnTo>
                    <a:pt x="507" y="531"/>
                  </a:lnTo>
                  <a:lnTo>
                    <a:pt x="506" y="539"/>
                  </a:lnTo>
                  <a:close/>
                  <a:moveTo>
                    <a:pt x="1145" y="175"/>
                  </a:moveTo>
                  <a:lnTo>
                    <a:pt x="959" y="175"/>
                  </a:lnTo>
                  <a:lnTo>
                    <a:pt x="959" y="1"/>
                  </a:lnTo>
                  <a:lnTo>
                    <a:pt x="1145" y="1"/>
                  </a:lnTo>
                  <a:lnTo>
                    <a:pt x="1145" y="175"/>
                  </a:lnTo>
                  <a:close/>
                  <a:moveTo>
                    <a:pt x="965" y="273"/>
                  </a:moveTo>
                  <a:lnTo>
                    <a:pt x="1139" y="273"/>
                  </a:lnTo>
                  <a:lnTo>
                    <a:pt x="1139" y="804"/>
                  </a:lnTo>
                  <a:lnTo>
                    <a:pt x="965" y="804"/>
                  </a:lnTo>
                  <a:lnTo>
                    <a:pt x="965" y="273"/>
                  </a:lnTo>
                  <a:close/>
                  <a:moveTo>
                    <a:pt x="1750" y="475"/>
                  </a:moveTo>
                  <a:lnTo>
                    <a:pt x="1750" y="804"/>
                  </a:lnTo>
                  <a:lnTo>
                    <a:pt x="1578" y="804"/>
                  </a:lnTo>
                  <a:lnTo>
                    <a:pt x="1578" y="523"/>
                  </a:lnTo>
                  <a:lnTo>
                    <a:pt x="1576" y="509"/>
                  </a:lnTo>
                  <a:lnTo>
                    <a:pt x="1575" y="495"/>
                  </a:lnTo>
                  <a:lnTo>
                    <a:pt x="1573" y="483"/>
                  </a:lnTo>
                  <a:lnTo>
                    <a:pt x="1571" y="472"/>
                  </a:lnTo>
                  <a:lnTo>
                    <a:pt x="1568" y="462"/>
                  </a:lnTo>
                  <a:lnTo>
                    <a:pt x="1563" y="452"/>
                  </a:lnTo>
                  <a:lnTo>
                    <a:pt x="1559" y="444"/>
                  </a:lnTo>
                  <a:lnTo>
                    <a:pt x="1555" y="440"/>
                  </a:lnTo>
                  <a:lnTo>
                    <a:pt x="1552" y="436"/>
                  </a:lnTo>
                  <a:lnTo>
                    <a:pt x="1546" y="430"/>
                  </a:lnTo>
                  <a:lnTo>
                    <a:pt x="1539" y="424"/>
                  </a:lnTo>
                  <a:lnTo>
                    <a:pt x="1531" y="420"/>
                  </a:lnTo>
                  <a:lnTo>
                    <a:pt x="1522" y="415"/>
                  </a:lnTo>
                  <a:lnTo>
                    <a:pt x="1512" y="412"/>
                  </a:lnTo>
                  <a:lnTo>
                    <a:pt x="1502" y="410"/>
                  </a:lnTo>
                  <a:lnTo>
                    <a:pt x="1491" y="409"/>
                  </a:lnTo>
                  <a:lnTo>
                    <a:pt x="1480" y="409"/>
                  </a:lnTo>
                  <a:lnTo>
                    <a:pt x="1469" y="409"/>
                  </a:lnTo>
                  <a:lnTo>
                    <a:pt x="1463" y="410"/>
                  </a:lnTo>
                  <a:lnTo>
                    <a:pt x="1459" y="410"/>
                  </a:lnTo>
                  <a:lnTo>
                    <a:pt x="1449" y="412"/>
                  </a:lnTo>
                  <a:lnTo>
                    <a:pt x="1439" y="415"/>
                  </a:lnTo>
                  <a:lnTo>
                    <a:pt x="1430" y="420"/>
                  </a:lnTo>
                  <a:lnTo>
                    <a:pt x="1425" y="422"/>
                  </a:lnTo>
                  <a:lnTo>
                    <a:pt x="1421" y="424"/>
                  </a:lnTo>
                  <a:lnTo>
                    <a:pt x="1413" y="431"/>
                  </a:lnTo>
                  <a:lnTo>
                    <a:pt x="1410" y="434"/>
                  </a:lnTo>
                  <a:lnTo>
                    <a:pt x="1406" y="438"/>
                  </a:lnTo>
                  <a:lnTo>
                    <a:pt x="1403" y="442"/>
                  </a:lnTo>
                  <a:lnTo>
                    <a:pt x="1400" y="445"/>
                  </a:lnTo>
                  <a:lnTo>
                    <a:pt x="1394" y="455"/>
                  </a:lnTo>
                  <a:lnTo>
                    <a:pt x="1389" y="465"/>
                  </a:lnTo>
                  <a:lnTo>
                    <a:pt x="1386" y="471"/>
                  </a:lnTo>
                  <a:lnTo>
                    <a:pt x="1385" y="478"/>
                  </a:lnTo>
                  <a:lnTo>
                    <a:pt x="1383" y="484"/>
                  </a:lnTo>
                  <a:lnTo>
                    <a:pt x="1382" y="491"/>
                  </a:lnTo>
                  <a:lnTo>
                    <a:pt x="1379" y="504"/>
                  </a:lnTo>
                  <a:lnTo>
                    <a:pt x="1378" y="520"/>
                  </a:lnTo>
                  <a:lnTo>
                    <a:pt x="1378" y="537"/>
                  </a:lnTo>
                  <a:lnTo>
                    <a:pt x="1378" y="804"/>
                  </a:lnTo>
                  <a:lnTo>
                    <a:pt x="1203" y="804"/>
                  </a:lnTo>
                  <a:lnTo>
                    <a:pt x="1203" y="273"/>
                  </a:lnTo>
                  <a:lnTo>
                    <a:pt x="1374" y="273"/>
                  </a:lnTo>
                  <a:lnTo>
                    <a:pt x="1374" y="353"/>
                  </a:lnTo>
                  <a:lnTo>
                    <a:pt x="1376" y="353"/>
                  </a:lnTo>
                  <a:lnTo>
                    <a:pt x="1383" y="342"/>
                  </a:lnTo>
                  <a:lnTo>
                    <a:pt x="1391" y="331"/>
                  </a:lnTo>
                  <a:lnTo>
                    <a:pt x="1400" y="321"/>
                  </a:lnTo>
                  <a:lnTo>
                    <a:pt x="1409" y="312"/>
                  </a:lnTo>
                  <a:lnTo>
                    <a:pt x="1418" y="303"/>
                  </a:lnTo>
                  <a:lnTo>
                    <a:pt x="1422" y="299"/>
                  </a:lnTo>
                  <a:lnTo>
                    <a:pt x="1428" y="295"/>
                  </a:lnTo>
                  <a:lnTo>
                    <a:pt x="1438" y="288"/>
                  </a:lnTo>
                  <a:lnTo>
                    <a:pt x="1449" y="281"/>
                  </a:lnTo>
                  <a:lnTo>
                    <a:pt x="1460" y="275"/>
                  </a:lnTo>
                  <a:lnTo>
                    <a:pt x="1472" y="270"/>
                  </a:lnTo>
                  <a:lnTo>
                    <a:pt x="1483" y="265"/>
                  </a:lnTo>
                  <a:lnTo>
                    <a:pt x="1496" y="262"/>
                  </a:lnTo>
                  <a:lnTo>
                    <a:pt x="1509" y="260"/>
                  </a:lnTo>
                  <a:lnTo>
                    <a:pt x="1522" y="258"/>
                  </a:lnTo>
                  <a:lnTo>
                    <a:pt x="1535" y="256"/>
                  </a:lnTo>
                  <a:lnTo>
                    <a:pt x="1550" y="255"/>
                  </a:lnTo>
                  <a:lnTo>
                    <a:pt x="1571" y="256"/>
                  </a:lnTo>
                  <a:lnTo>
                    <a:pt x="1582" y="258"/>
                  </a:lnTo>
                  <a:lnTo>
                    <a:pt x="1592" y="259"/>
                  </a:lnTo>
                  <a:lnTo>
                    <a:pt x="1602" y="261"/>
                  </a:lnTo>
                  <a:lnTo>
                    <a:pt x="1612" y="263"/>
                  </a:lnTo>
                  <a:lnTo>
                    <a:pt x="1621" y="265"/>
                  </a:lnTo>
                  <a:lnTo>
                    <a:pt x="1630" y="269"/>
                  </a:lnTo>
                  <a:lnTo>
                    <a:pt x="1640" y="272"/>
                  </a:lnTo>
                  <a:lnTo>
                    <a:pt x="1647" y="276"/>
                  </a:lnTo>
                  <a:lnTo>
                    <a:pt x="1656" y="281"/>
                  </a:lnTo>
                  <a:lnTo>
                    <a:pt x="1664" y="285"/>
                  </a:lnTo>
                  <a:lnTo>
                    <a:pt x="1672" y="291"/>
                  </a:lnTo>
                  <a:lnTo>
                    <a:pt x="1680" y="296"/>
                  </a:lnTo>
                  <a:lnTo>
                    <a:pt x="1686" y="302"/>
                  </a:lnTo>
                  <a:lnTo>
                    <a:pt x="1693" y="309"/>
                  </a:lnTo>
                  <a:lnTo>
                    <a:pt x="1700" y="315"/>
                  </a:lnTo>
                  <a:lnTo>
                    <a:pt x="1706" y="323"/>
                  </a:lnTo>
                  <a:lnTo>
                    <a:pt x="1712" y="331"/>
                  </a:lnTo>
                  <a:lnTo>
                    <a:pt x="1717" y="339"/>
                  </a:lnTo>
                  <a:lnTo>
                    <a:pt x="1722" y="348"/>
                  </a:lnTo>
                  <a:lnTo>
                    <a:pt x="1726" y="358"/>
                  </a:lnTo>
                  <a:lnTo>
                    <a:pt x="1731" y="366"/>
                  </a:lnTo>
                  <a:lnTo>
                    <a:pt x="1735" y="376"/>
                  </a:lnTo>
                  <a:lnTo>
                    <a:pt x="1739" y="388"/>
                  </a:lnTo>
                  <a:lnTo>
                    <a:pt x="1741" y="399"/>
                  </a:lnTo>
                  <a:lnTo>
                    <a:pt x="1744" y="410"/>
                  </a:lnTo>
                  <a:lnTo>
                    <a:pt x="1745" y="422"/>
                  </a:lnTo>
                  <a:lnTo>
                    <a:pt x="1747" y="434"/>
                  </a:lnTo>
                  <a:lnTo>
                    <a:pt x="1749" y="448"/>
                  </a:lnTo>
                  <a:lnTo>
                    <a:pt x="1750" y="461"/>
                  </a:lnTo>
                  <a:lnTo>
                    <a:pt x="1750" y="475"/>
                  </a:lnTo>
                  <a:close/>
                  <a:moveTo>
                    <a:pt x="2235" y="418"/>
                  </a:moveTo>
                  <a:lnTo>
                    <a:pt x="2235" y="577"/>
                  </a:lnTo>
                  <a:lnTo>
                    <a:pt x="2236" y="594"/>
                  </a:lnTo>
                  <a:lnTo>
                    <a:pt x="2238" y="609"/>
                  </a:lnTo>
                  <a:lnTo>
                    <a:pt x="2240" y="614"/>
                  </a:lnTo>
                  <a:lnTo>
                    <a:pt x="2242" y="620"/>
                  </a:lnTo>
                  <a:lnTo>
                    <a:pt x="2244" y="624"/>
                  </a:lnTo>
                  <a:lnTo>
                    <a:pt x="2247" y="629"/>
                  </a:lnTo>
                  <a:lnTo>
                    <a:pt x="2251" y="632"/>
                  </a:lnTo>
                  <a:lnTo>
                    <a:pt x="2255" y="635"/>
                  </a:lnTo>
                  <a:lnTo>
                    <a:pt x="2260" y="637"/>
                  </a:lnTo>
                  <a:lnTo>
                    <a:pt x="2265" y="640"/>
                  </a:lnTo>
                  <a:lnTo>
                    <a:pt x="2271" y="641"/>
                  </a:lnTo>
                  <a:lnTo>
                    <a:pt x="2277" y="642"/>
                  </a:lnTo>
                  <a:lnTo>
                    <a:pt x="2285" y="643"/>
                  </a:lnTo>
                  <a:lnTo>
                    <a:pt x="2293" y="643"/>
                  </a:lnTo>
                  <a:lnTo>
                    <a:pt x="2313" y="643"/>
                  </a:lnTo>
                  <a:lnTo>
                    <a:pt x="2313" y="804"/>
                  </a:lnTo>
                  <a:lnTo>
                    <a:pt x="2240" y="804"/>
                  </a:lnTo>
                  <a:lnTo>
                    <a:pt x="2221" y="803"/>
                  </a:lnTo>
                  <a:lnTo>
                    <a:pt x="2211" y="803"/>
                  </a:lnTo>
                  <a:lnTo>
                    <a:pt x="2202" y="802"/>
                  </a:lnTo>
                  <a:lnTo>
                    <a:pt x="2184" y="799"/>
                  </a:lnTo>
                  <a:lnTo>
                    <a:pt x="2166" y="794"/>
                  </a:lnTo>
                  <a:lnTo>
                    <a:pt x="2158" y="791"/>
                  </a:lnTo>
                  <a:lnTo>
                    <a:pt x="2151" y="787"/>
                  </a:lnTo>
                  <a:lnTo>
                    <a:pt x="2143" y="784"/>
                  </a:lnTo>
                  <a:lnTo>
                    <a:pt x="2136" y="781"/>
                  </a:lnTo>
                  <a:lnTo>
                    <a:pt x="2130" y="776"/>
                  </a:lnTo>
                  <a:lnTo>
                    <a:pt x="2123" y="772"/>
                  </a:lnTo>
                  <a:lnTo>
                    <a:pt x="2116" y="767"/>
                  </a:lnTo>
                  <a:lnTo>
                    <a:pt x="2111" y="762"/>
                  </a:lnTo>
                  <a:lnTo>
                    <a:pt x="2105" y="756"/>
                  </a:lnTo>
                  <a:lnTo>
                    <a:pt x="2100" y="751"/>
                  </a:lnTo>
                  <a:lnTo>
                    <a:pt x="2090" y="737"/>
                  </a:lnTo>
                  <a:lnTo>
                    <a:pt x="2085" y="730"/>
                  </a:lnTo>
                  <a:lnTo>
                    <a:pt x="2082" y="723"/>
                  </a:lnTo>
                  <a:lnTo>
                    <a:pt x="2075" y="706"/>
                  </a:lnTo>
                  <a:lnTo>
                    <a:pt x="2070" y="689"/>
                  </a:lnTo>
                  <a:lnTo>
                    <a:pt x="2067" y="679"/>
                  </a:lnTo>
                  <a:lnTo>
                    <a:pt x="2065" y="669"/>
                  </a:lnTo>
                  <a:lnTo>
                    <a:pt x="2064" y="659"/>
                  </a:lnTo>
                  <a:lnTo>
                    <a:pt x="2063" y="647"/>
                  </a:lnTo>
                  <a:lnTo>
                    <a:pt x="2062" y="636"/>
                  </a:lnTo>
                  <a:lnTo>
                    <a:pt x="2062" y="624"/>
                  </a:lnTo>
                  <a:lnTo>
                    <a:pt x="2062" y="418"/>
                  </a:lnTo>
                  <a:lnTo>
                    <a:pt x="1959" y="418"/>
                  </a:lnTo>
                  <a:lnTo>
                    <a:pt x="1959" y="273"/>
                  </a:lnTo>
                  <a:lnTo>
                    <a:pt x="2062" y="273"/>
                  </a:lnTo>
                  <a:lnTo>
                    <a:pt x="2062" y="60"/>
                  </a:lnTo>
                  <a:lnTo>
                    <a:pt x="2235" y="60"/>
                  </a:lnTo>
                  <a:lnTo>
                    <a:pt x="2235" y="273"/>
                  </a:lnTo>
                  <a:lnTo>
                    <a:pt x="2345" y="273"/>
                  </a:lnTo>
                  <a:lnTo>
                    <a:pt x="2345" y="418"/>
                  </a:lnTo>
                  <a:lnTo>
                    <a:pt x="2235" y="418"/>
                  </a:lnTo>
                  <a:close/>
                  <a:moveTo>
                    <a:pt x="2556" y="343"/>
                  </a:moveTo>
                  <a:lnTo>
                    <a:pt x="2558" y="343"/>
                  </a:lnTo>
                  <a:lnTo>
                    <a:pt x="2565" y="333"/>
                  </a:lnTo>
                  <a:lnTo>
                    <a:pt x="2573" y="323"/>
                  </a:lnTo>
                  <a:lnTo>
                    <a:pt x="2581" y="314"/>
                  </a:lnTo>
                  <a:lnTo>
                    <a:pt x="2585" y="310"/>
                  </a:lnTo>
                  <a:lnTo>
                    <a:pt x="2589" y="305"/>
                  </a:lnTo>
                  <a:lnTo>
                    <a:pt x="2598" y="298"/>
                  </a:lnTo>
                  <a:lnTo>
                    <a:pt x="2608" y="291"/>
                  </a:lnTo>
                  <a:lnTo>
                    <a:pt x="2618" y="284"/>
                  </a:lnTo>
                  <a:lnTo>
                    <a:pt x="2628" y="279"/>
                  </a:lnTo>
                  <a:lnTo>
                    <a:pt x="2639" y="273"/>
                  </a:lnTo>
                  <a:lnTo>
                    <a:pt x="2651" y="269"/>
                  </a:lnTo>
                  <a:lnTo>
                    <a:pt x="2663" y="264"/>
                  </a:lnTo>
                  <a:lnTo>
                    <a:pt x="2675" y="261"/>
                  </a:lnTo>
                  <a:lnTo>
                    <a:pt x="2687" y="259"/>
                  </a:lnTo>
                  <a:lnTo>
                    <a:pt x="2694" y="258"/>
                  </a:lnTo>
                  <a:lnTo>
                    <a:pt x="2701" y="258"/>
                  </a:lnTo>
                  <a:lnTo>
                    <a:pt x="2714" y="256"/>
                  </a:lnTo>
                  <a:lnTo>
                    <a:pt x="2728" y="255"/>
                  </a:lnTo>
                  <a:lnTo>
                    <a:pt x="2749" y="256"/>
                  </a:lnTo>
                  <a:lnTo>
                    <a:pt x="2760" y="258"/>
                  </a:lnTo>
                  <a:lnTo>
                    <a:pt x="2770" y="259"/>
                  </a:lnTo>
                  <a:lnTo>
                    <a:pt x="2780" y="261"/>
                  </a:lnTo>
                  <a:lnTo>
                    <a:pt x="2790" y="263"/>
                  </a:lnTo>
                  <a:lnTo>
                    <a:pt x="2799" y="265"/>
                  </a:lnTo>
                  <a:lnTo>
                    <a:pt x="2809" y="269"/>
                  </a:lnTo>
                  <a:lnTo>
                    <a:pt x="2818" y="272"/>
                  </a:lnTo>
                  <a:lnTo>
                    <a:pt x="2826" y="276"/>
                  </a:lnTo>
                  <a:lnTo>
                    <a:pt x="2835" y="281"/>
                  </a:lnTo>
                  <a:lnTo>
                    <a:pt x="2843" y="285"/>
                  </a:lnTo>
                  <a:lnTo>
                    <a:pt x="2850" y="291"/>
                  </a:lnTo>
                  <a:lnTo>
                    <a:pt x="2858" y="296"/>
                  </a:lnTo>
                  <a:lnTo>
                    <a:pt x="2865" y="302"/>
                  </a:lnTo>
                  <a:lnTo>
                    <a:pt x="2872" y="309"/>
                  </a:lnTo>
                  <a:lnTo>
                    <a:pt x="2878" y="315"/>
                  </a:lnTo>
                  <a:lnTo>
                    <a:pt x="2885" y="323"/>
                  </a:lnTo>
                  <a:lnTo>
                    <a:pt x="2890" y="331"/>
                  </a:lnTo>
                  <a:lnTo>
                    <a:pt x="2896" y="339"/>
                  </a:lnTo>
                  <a:lnTo>
                    <a:pt x="2900" y="348"/>
                  </a:lnTo>
                  <a:lnTo>
                    <a:pt x="2905" y="358"/>
                  </a:lnTo>
                  <a:lnTo>
                    <a:pt x="2909" y="366"/>
                  </a:lnTo>
                  <a:lnTo>
                    <a:pt x="2914" y="376"/>
                  </a:lnTo>
                  <a:lnTo>
                    <a:pt x="2917" y="388"/>
                  </a:lnTo>
                  <a:lnTo>
                    <a:pt x="2919" y="399"/>
                  </a:lnTo>
                  <a:lnTo>
                    <a:pt x="2923" y="410"/>
                  </a:lnTo>
                  <a:lnTo>
                    <a:pt x="2925" y="422"/>
                  </a:lnTo>
                  <a:lnTo>
                    <a:pt x="2926" y="434"/>
                  </a:lnTo>
                  <a:lnTo>
                    <a:pt x="2927" y="448"/>
                  </a:lnTo>
                  <a:lnTo>
                    <a:pt x="2928" y="461"/>
                  </a:lnTo>
                  <a:lnTo>
                    <a:pt x="2928" y="475"/>
                  </a:lnTo>
                  <a:lnTo>
                    <a:pt x="2928" y="804"/>
                  </a:lnTo>
                  <a:lnTo>
                    <a:pt x="2755" y="804"/>
                  </a:lnTo>
                  <a:lnTo>
                    <a:pt x="2755" y="523"/>
                  </a:lnTo>
                  <a:lnTo>
                    <a:pt x="2754" y="509"/>
                  </a:lnTo>
                  <a:lnTo>
                    <a:pt x="2753" y="495"/>
                  </a:lnTo>
                  <a:lnTo>
                    <a:pt x="2752" y="483"/>
                  </a:lnTo>
                  <a:lnTo>
                    <a:pt x="2748" y="472"/>
                  </a:lnTo>
                  <a:lnTo>
                    <a:pt x="2745" y="462"/>
                  </a:lnTo>
                  <a:lnTo>
                    <a:pt x="2741" y="452"/>
                  </a:lnTo>
                  <a:lnTo>
                    <a:pt x="2738" y="448"/>
                  </a:lnTo>
                  <a:lnTo>
                    <a:pt x="2736" y="444"/>
                  </a:lnTo>
                  <a:lnTo>
                    <a:pt x="2733" y="440"/>
                  </a:lnTo>
                  <a:lnTo>
                    <a:pt x="2731" y="436"/>
                  </a:lnTo>
                  <a:lnTo>
                    <a:pt x="2724" y="430"/>
                  </a:lnTo>
                  <a:lnTo>
                    <a:pt x="2716" y="424"/>
                  </a:lnTo>
                  <a:lnTo>
                    <a:pt x="2708" y="420"/>
                  </a:lnTo>
                  <a:lnTo>
                    <a:pt x="2699" y="415"/>
                  </a:lnTo>
                  <a:lnTo>
                    <a:pt x="2691" y="412"/>
                  </a:lnTo>
                  <a:lnTo>
                    <a:pt x="2681" y="410"/>
                  </a:lnTo>
                  <a:lnTo>
                    <a:pt x="2669" y="409"/>
                  </a:lnTo>
                  <a:lnTo>
                    <a:pt x="2658" y="409"/>
                  </a:lnTo>
                  <a:lnTo>
                    <a:pt x="2647" y="409"/>
                  </a:lnTo>
                  <a:lnTo>
                    <a:pt x="2642" y="410"/>
                  </a:lnTo>
                  <a:lnTo>
                    <a:pt x="2637" y="410"/>
                  </a:lnTo>
                  <a:lnTo>
                    <a:pt x="2627" y="412"/>
                  </a:lnTo>
                  <a:lnTo>
                    <a:pt x="2617" y="415"/>
                  </a:lnTo>
                  <a:lnTo>
                    <a:pt x="2608" y="420"/>
                  </a:lnTo>
                  <a:lnTo>
                    <a:pt x="2604" y="422"/>
                  </a:lnTo>
                  <a:lnTo>
                    <a:pt x="2599" y="424"/>
                  </a:lnTo>
                  <a:lnTo>
                    <a:pt x="2592" y="431"/>
                  </a:lnTo>
                  <a:lnTo>
                    <a:pt x="2588" y="434"/>
                  </a:lnTo>
                  <a:lnTo>
                    <a:pt x="2585" y="438"/>
                  </a:lnTo>
                  <a:lnTo>
                    <a:pt x="2582" y="442"/>
                  </a:lnTo>
                  <a:lnTo>
                    <a:pt x="2578" y="445"/>
                  </a:lnTo>
                  <a:lnTo>
                    <a:pt x="2573" y="455"/>
                  </a:lnTo>
                  <a:lnTo>
                    <a:pt x="2567" y="465"/>
                  </a:lnTo>
                  <a:lnTo>
                    <a:pt x="2566" y="471"/>
                  </a:lnTo>
                  <a:lnTo>
                    <a:pt x="2564" y="478"/>
                  </a:lnTo>
                  <a:lnTo>
                    <a:pt x="2562" y="484"/>
                  </a:lnTo>
                  <a:lnTo>
                    <a:pt x="2561" y="491"/>
                  </a:lnTo>
                  <a:lnTo>
                    <a:pt x="2558" y="504"/>
                  </a:lnTo>
                  <a:lnTo>
                    <a:pt x="2556" y="520"/>
                  </a:lnTo>
                  <a:lnTo>
                    <a:pt x="2556" y="537"/>
                  </a:lnTo>
                  <a:lnTo>
                    <a:pt x="2556" y="804"/>
                  </a:lnTo>
                  <a:lnTo>
                    <a:pt x="2383" y="804"/>
                  </a:lnTo>
                  <a:lnTo>
                    <a:pt x="2383" y="0"/>
                  </a:lnTo>
                  <a:lnTo>
                    <a:pt x="2556" y="0"/>
                  </a:lnTo>
                  <a:lnTo>
                    <a:pt x="2556" y="343"/>
                  </a:lnTo>
                  <a:close/>
                  <a:moveTo>
                    <a:pt x="3506" y="541"/>
                  </a:moveTo>
                  <a:lnTo>
                    <a:pt x="3506" y="580"/>
                  </a:lnTo>
                  <a:lnTo>
                    <a:pt x="3125" y="580"/>
                  </a:lnTo>
                  <a:lnTo>
                    <a:pt x="3128" y="592"/>
                  </a:lnTo>
                  <a:lnTo>
                    <a:pt x="3131" y="603"/>
                  </a:lnTo>
                  <a:lnTo>
                    <a:pt x="3136" y="613"/>
                  </a:lnTo>
                  <a:lnTo>
                    <a:pt x="3141" y="623"/>
                  </a:lnTo>
                  <a:lnTo>
                    <a:pt x="3147" y="632"/>
                  </a:lnTo>
                  <a:lnTo>
                    <a:pt x="3155" y="640"/>
                  </a:lnTo>
                  <a:lnTo>
                    <a:pt x="3163" y="646"/>
                  </a:lnTo>
                  <a:lnTo>
                    <a:pt x="3170" y="653"/>
                  </a:lnTo>
                  <a:lnTo>
                    <a:pt x="3180" y="659"/>
                  </a:lnTo>
                  <a:lnTo>
                    <a:pt x="3189" y="663"/>
                  </a:lnTo>
                  <a:lnTo>
                    <a:pt x="3200" y="667"/>
                  </a:lnTo>
                  <a:lnTo>
                    <a:pt x="3211" y="671"/>
                  </a:lnTo>
                  <a:lnTo>
                    <a:pt x="3223" y="673"/>
                  </a:lnTo>
                  <a:lnTo>
                    <a:pt x="3229" y="674"/>
                  </a:lnTo>
                  <a:lnTo>
                    <a:pt x="3235" y="675"/>
                  </a:lnTo>
                  <a:lnTo>
                    <a:pt x="3248" y="676"/>
                  </a:lnTo>
                  <a:lnTo>
                    <a:pt x="3260" y="676"/>
                  </a:lnTo>
                  <a:lnTo>
                    <a:pt x="3273" y="676"/>
                  </a:lnTo>
                  <a:lnTo>
                    <a:pt x="3285" y="675"/>
                  </a:lnTo>
                  <a:lnTo>
                    <a:pt x="3296" y="674"/>
                  </a:lnTo>
                  <a:lnTo>
                    <a:pt x="3307" y="672"/>
                  </a:lnTo>
                  <a:lnTo>
                    <a:pt x="3318" y="670"/>
                  </a:lnTo>
                  <a:lnTo>
                    <a:pt x="3329" y="666"/>
                  </a:lnTo>
                  <a:lnTo>
                    <a:pt x="3349" y="661"/>
                  </a:lnTo>
                  <a:lnTo>
                    <a:pt x="3359" y="656"/>
                  </a:lnTo>
                  <a:lnTo>
                    <a:pt x="3368" y="653"/>
                  </a:lnTo>
                  <a:lnTo>
                    <a:pt x="3377" y="649"/>
                  </a:lnTo>
                  <a:lnTo>
                    <a:pt x="3386" y="645"/>
                  </a:lnTo>
                  <a:lnTo>
                    <a:pt x="3401" y="636"/>
                  </a:lnTo>
                  <a:lnTo>
                    <a:pt x="3415" y="627"/>
                  </a:lnTo>
                  <a:lnTo>
                    <a:pt x="3478" y="759"/>
                  </a:lnTo>
                  <a:lnTo>
                    <a:pt x="3467" y="765"/>
                  </a:lnTo>
                  <a:lnTo>
                    <a:pt x="3456" y="772"/>
                  </a:lnTo>
                  <a:lnTo>
                    <a:pt x="3445" y="777"/>
                  </a:lnTo>
                  <a:lnTo>
                    <a:pt x="3433" y="783"/>
                  </a:lnTo>
                  <a:lnTo>
                    <a:pt x="3408" y="794"/>
                  </a:lnTo>
                  <a:lnTo>
                    <a:pt x="3395" y="799"/>
                  </a:lnTo>
                  <a:lnTo>
                    <a:pt x="3381" y="803"/>
                  </a:lnTo>
                  <a:lnTo>
                    <a:pt x="3367" y="807"/>
                  </a:lnTo>
                  <a:lnTo>
                    <a:pt x="3353" y="811"/>
                  </a:lnTo>
                  <a:lnTo>
                    <a:pt x="3338" y="814"/>
                  </a:lnTo>
                  <a:lnTo>
                    <a:pt x="3324" y="816"/>
                  </a:lnTo>
                  <a:lnTo>
                    <a:pt x="3308" y="819"/>
                  </a:lnTo>
                  <a:lnTo>
                    <a:pt x="3291" y="820"/>
                  </a:lnTo>
                  <a:lnTo>
                    <a:pt x="3276" y="821"/>
                  </a:lnTo>
                  <a:lnTo>
                    <a:pt x="3258" y="821"/>
                  </a:lnTo>
                  <a:lnTo>
                    <a:pt x="3243" y="821"/>
                  </a:lnTo>
                  <a:lnTo>
                    <a:pt x="3226" y="820"/>
                  </a:lnTo>
                  <a:lnTo>
                    <a:pt x="3210" y="819"/>
                  </a:lnTo>
                  <a:lnTo>
                    <a:pt x="3195" y="816"/>
                  </a:lnTo>
                  <a:lnTo>
                    <a:pt x="3179" y="813"/>
                  </a:lnTo>
                  <a:lnTo>
                    <a:pt x="3165" y="810"/>
                  </a:lnTo>
                  <a:lnTo>
                    <a:pt x="3150" y="805"/>
                  </a:lnTo>
                  <a:lnTo>
                    <a:pt x="3137" y="801"/>
                  </a:lnTo>
                  <a:lnTo>
                    <a:pt x="3124" y="796"/>
                  </a:lnTo>
                  <a:lnTo>
                    <a:pt x="3110" y="790"/>
                  </a:lnTo>
                  <a:lnTo>
                    <a:pt x="3098" y="784"/>
                  </a:lnTo>
                  <a:lnTo>
                    <a:pt x="3087" y="777"/>
                  </a:lnTo>
                  <a:lnTo>
                    <a:pt x="3080" y="773"/>
                  </a:lnTo>
                  <a:lnTo>
                    <a:pt x="3075" y="770"/>
                  </a:lnTo>
                  <a:lnTo>
                    <a:pt x="3064" y="762"/>
                  </a:lnTo>
                  <a:lnTo>
                    <a:pt x="3054" y="753"/>
                  </a:lnTo>
                  <a:lnTo>
                    <a:pt x="3044" y="744"/>
                  </a:lnTo>
                  <a:lnTo>
                    <a:pt x="3034" y="735"/>
                  </a:lnTo>
                  <a:lnTo>
                    <a:pt x="3025" y="725"/>
                  </a:lnTo>
                  <a:lnTo>
                    <a:pt x="3017" y="714"/>
                  </a:lnTo>
                  <a:lnTo>
                    <a:pt x="3009" y="704"/>
                  </a:lnTo>
                  <a:lnTo>
                    <a:pt x="3002" y="692"/>
                  </a:lnTo>
                  <a:lnTo>
                    <a:pt x="2995" y="681"/>
                  </a:lnTo>
                  <a:lnTo>
                    <a:pt x="2989" y="669"/>
                  </a:lnTo>
                  <a:lnTo>
                    <a:pt x="2984" y="655"/>
                  </a:lnTo>
                  <a:lnTo>
                    <a:pt x="2978" y="643"/>
                  </a:lnTo>
                  <a:lnTo>
                    <a:pt x="2974" y="630"/>
                  </a:lnTo>
                  <a:lnTo>
                    <a:pt x="2970" y="615"/>
                  </a:lnTo>
                  <a:lnTo>
                    <a:pt x="2967" y="601"/>
                  </a:lnTo>
                  <a:lnTo>
                    <a:pt x="2965" y="586"/>
                  </a:lnTo>
                  <a:lnTo>
                    <a:pt x="2964" y="572"/>
                  </a:lnTo>
                  <a:lnTo>
                    <a:pt x="2963" y="556"/>
                  </a:lnTo>
                  <a:lnTo>
                    <a:pt x="2963" y="541"/>
                  </a:lnTo>
                  <a:lnTo>
                    <a:pt x="2963" y="524"/>
                  </a:lnTo>
                  <a:lnTo>
                    <a:pt x="2964" y="508"/>
                  </a:lnTo>
                  <a:lnTo>
                    <a:pt x="2965" y="492"/>
                  </a:lnTo>
                  <a:lnTo>
                    <a:pt x="2967" y="478"/>
                  </a:lnTo>
                  <a:lnTo>
                    <a:pt x="2970" y="462"/>
                  </a:lnTo>
                  <a:lnTo>
                    <a:pt x="2974" y="448"/>
                  </a:lnTo>
                  <a:lnTo>
                    <a:pt x="2978" y="434"/>
                  </a:lnTo>
                  <a:lnTo>
                    <a:pt x="2983" y="421"/>
                  </a:lnTo>
                  <a:lnTo>
                    <a:pt x="2988" y="408"/>
                  </a:lnTo>
                  <a:lnTo>
                    <a:pt x="2994" y="395"/>
                  </a:lnTo>
                  <a:lnTo>
                    <a:pt x="3000" y="383"/>
                  </a:lnTo>
                  <a:lnTo>
                    <a:pt x="3008" y="372"/>
                  </a:lnTo>
                  <a:lnTo>
                    <a:pt x="3015" y="361"/>
                  </a:lnTo>
                  <a:lnTo>
                    <a:pt x="3024" y="351"/>
                  </a:lnTo>
                  <a:lnTo>
                    <a:pt x="3032" y="341"/>
                  </a:lnTo>
                  <a:lnTo>
                    <a:pt x="3042" y="332"/>
                  </a:lnTo>
                  <a:lnTo>
                    <a:pt x="3050" y="323"/>
                  </a:lnTo>
                  <a:lnTo>
                    <a:pt x="3060" y="314"/>
                  </a:lnTo>
                  <a:lnTo>
                    <a:pt x="3072" y="306"/>
                  </a:lnTo>
                  <a:lnTo>
                    <a:pt x="3083" y="300"/>
                  </a:lnTo>
                  <a:lnTo>
                    <a:pt x="3094" y="293"/>
                  </a:lnTo>
                  <a:lnTo>
                    <a:pt x="3105" y="286"/>
                  </a:lnTo>
                  <a:lnTo>
                    <a:pt x="3117" y="281"/>
                  </a:lnTo>
                  <a:lnTo>
                    <a:pt x="3130" y="276"/>
                  </a:lnTo>
                  <a:lnTo>
                    <a:pt x="3143" y="272"/>
                  </a:lnTo>
                  <a:lnTo>
                    <a:pt x="3156" y="268"/>
                  </a:lnTo>
                  <a:lnTo>
                    <a:pt x="3169" y="264"/>
                  </a:lnTo>
                  <a:lnTo>
                    <a:pt x="3184" y="262"/>
                  </a:lnTo>
                  <a:lnTo>
                    <a:pt x="3198" y="260"/>
                  </a:lnTo>
                  <a:lnTo>
                    <a:pt x="3213" y="258"/>
                  </a:lnTo>
                  <a:lnTo>
                    <a:pt x="3227" y="258"/>
                  </a:lnTo>
                  <a:lnTo>
                    <a:pt x="3243" y="256"/>
                  </a:lnTo>
                  <a:lnTo>
                    <a:pt x="3257" y="258"/>
                  </a:lnTo>
                  <a:lnTo>
                    <a:pt x="3271" y="258"/>
                  </a:lnTo>
                  <a:lnTo>
                    <a:pt x="3286" y="260"/>
                  </a:lnTo>
                  <a:lnTo>
                    <a:pt x="3299" y="261"/>
                  </a:lnTo>
                  <a:lnTo>
                    <a:pt x="3313" y="263"/>
                  </a:lnTo>
                  <a:lnTo>
                    <a:pt x="3326" y="266"/>
                  </a:lnTo>
                  <a:lnTo>
                    <a:pt x="3339" y="270"/>
                  </a:lnTo>
                  <a:lnTo>
                    <a:pt x="3345" y="272"/>
                  </a:lnTo>
                  <a:lnTo>
                    <a:pt x="3351" y="274"/>
                  </a:lnTo>
                  <a:lnTo>
                    <a:pt x="3363" y="279"/>
                  </a:lnTo>
                  <a:lnTo>
                    <a:pt x="3375" y="284"/>
                  </a:lnTo>
                  <a:lnTo>
                    <a:pt x="3386" y="290"/>
                  </a:lnTo>
                  <a:lnTo>
                    <a:pt x="3396" y="296"/>
                  </a:lnTo>
                  <a:lnTo>
                    <a:pt x="3406" y="303"/>
                  </a:lnTo>
                  <a:lnTo>
                    <a:pt x="3411" y="306"/>
                  </a:lnTo>
                  <a:lnTo>
                    <a:pt x="3416" y="311"/>
                  </a:lnTo>
                  <a:lnTo>
                    <a:pt x="3425" y="319"/>
                  </a:lnTo>
                  <a:lnTo>
                    <a:pt x="3434" y="326"/>
                  </a:lnTo>
                  <a:lnTo>
                    <a:pt x="3443" y="336"/>
                  </a:lnTo>
                  <a:lnTo>
                    <a:pt x="3450" y="345"/>
                  </a:lnTo>
                  <a:lnTo>
                    <a:pt x="3458" y="355"/>
                  </a:lnTo>
                  <a:lnTo>
                    <a:pt x="3465" y="366"/>
                  </a:lnTo>
                  <a:lnTo>
                    <a:pt x="3471" y="378"/>
                  </a:lnTo>
                  <a:lnTo>
                    <a:pt x="3477" y="390"/>
                  </a:lnTo>
                  <a:lnTo>
                    <a:pt x="3483" y="402"/>
                  </a:lnTo>
                  <a:lnTo>
                    <a:pt x="3487" y="415"/>
                  </a:lnTo>
                  <a:lnTo>
                    <a:pt x="3489" y="422"/>
                  </a:lnTo>
                  <a:lnTo>
                    <a:pt x="3491" y="429"/>
                  </a:lnTo>
                  <a:lnTo>
                    <a:pt x="3495" y="443"/>
                  </a:lnTo>
                  <a:lnTo>
                    <a:pt x="3498" y="458"/>
                  </a:lnTo>
                  <a:lnTo>
                    <a:pt x="3501" y="473"/>
                  </a:lnTo>
                  <a:lnTo>
                    <a:pt x="3502" y="490"/>
                  </a:lnTo>
                  <a:lnTo>
                    <a:pt x="3505" y="506"/>
                  </a:lnTo>
                  <a:lnTo>
                    <a:pt x="3506" y="523"/>
                  </a:lnTo>
                  <a:lnTo>
                    <a:pt x="3506" y="541"/>
                  </a:lnTo>
                  <a:close/>
                  <a:moveTo>
                    <a:pt x="3126" y="478"/>
                  </a:moveTo>
                  <a:lnTo>
                    <a:pt x="3338" y="478"/>
                  </a:lnTo>
                  <a:lnTo>
                    <a:pt x="3337" y="466"/>
                  </a:lnTo>
                  <a:lnTo>
                    <a:pt x="3335" y="455"/>
                  </a:lnTo>
                  <a:lnTo>
                    <a:pt x="3333" y="445"/>
                  </a:lnTo>
                  <a:lnTo>
                    <a:pt x="3329" y="436"/>
                  </a:lnTo>
                  <a:lnTo>
                    <a:pt x="3325" y="428"/>
                  </a:lnTo>
                  <a:lnTo>
                    <a:pt x="3319" y="420"/>
                  </a:lnTo>
                  <a:lnTo>
                    <a:pt x="3317" y="415"/>
                  </a:lnTo>
                  <a:lnTo>
                    <a:pt x="3314" y="412"/>
                  </a:lnTo>
                  <a:lnTo>
                    <a:pt x="3308" y="405"/>
                  </a:lnTo>
                  <a:lnTo>
                    <a:pt x="3300" y="400"/>
                  </a:lnTo>
                  <a:lnTo>
                    <a:pt x="3293" y="394"/>
                  </a:lnTo>
                  <a:lnTo>
                    <a:pt x="3285" y="390"/>
                  </a:lnTo>
                  <a:lnTo>
                    <a:pt x="3276" y="386"/>
                  </a:lnTo>
                  <a:lnTo>
                    <a:pt x="3267" y="383"/>
                  </a:lnTo>
                  <a:lnTo>
                    <a:pt x="3257" y="382"/>
                  </a:lnTo>
                  <a:lnTo>
                    <a:pt x="3247" y="380"/>
                  </a:lnTo>
                  <a:lnTo>
                    <a:pt x="3237" y="380"/>
                  </a:lnTo>
                  <a:lnTo>
                    <a:pt x="3226" y="380"/>
                  </a:lnTo>
                  <a:lnTo>
                    <a:pt x="3216" y="381"/>
                  </a:lnTo>
                  <a:lnTo>
                    <a:pt x="3206" y="383"/>
                  </a:lnTo>
                  <a:lnTo>
                    <a:pt x="3196" y="385"/>
                  </a:lnTo>
                  <a:lnTo>
                    <a:pt x="3187" y="389"/>
                  </a:lnTo>
                  <a:lnTo>
                    <a:pt x="3178" y="393"/>
                  </a:lnTo>
                  <a:lnTo>
                    <a:pt x="3170" y="398"/>
                  </a:lnTo>
                  <a:lnTo>
                    <a:pt x="3163" y="403"/>
                  </a:lnTo>
                  <a:lnTo>
                    <a:pt x="3156" y="409"/>
                  </a:lnTo>
                  <a:lnTo>
                    <a:pt x="3149" y="416"/>
                  </a:lnTo>
                  <a:lnTo>
                    <a:pt x="3144" y="424"/>
                  </a:lnTo>
                  <a:lnTo>
                    <a:pt x="3139" y="433"/>
                  </a:lnTo>
                  <a:lnTo>
                    <a:pt x="3137" y="438"/>
                  </a:lnTo>
                  <a:lnTo>
                    <a:pt x="3135" y="443"/>
                  </a:lnTo>
                  <a:lnTo>
                    <a:pt x="3131" y="453"/>
                  </a:lnTo>
                  <a:lnTo>
                    <a:pt x="3128" y="465"/>
                  </a:lnTo>
                  <a:lnTo>
                    <a:pt x="3126" y="4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22" name="Picture Placeholder 8"/>
          <p:cNvSpPr>
            <a:spLocks noGrp="1"/>
          </p:cNvSpPr>
          <p:nvPr>
            <p:ph type="pic" sz="quarter" idx="17" hasCustomPrompt="1"/>
          </p:nvPr>
        </p:nvSpPr>
        <p:spPr>
          <a:xfrm>
            <a:off x="0" y="0"/>
            <a:ext cx="12192000" cy="6858000"/>
          </a:xfrm>
          <a:custGeom>
            <a:avLst/>
            <a:gdLst/>
            <a:ahLst/>
            <a:cxnLst/>
            <a:rect l="l" t="t" r="r" b="b"/>
            <a:pathLst>
              <a:path w="12192000" h="6858000">
                <a:moveTo>
                  <a:pt x="10176312" y="5785847"/>
                </a:moveTo>
                <a:lnTo>
                  <a:pt x="10176312" y="5892262"/>
                </a:lnTo>
                <a:lnTo>
                  <a:pt x="10176312" y="5998816"/>
                </a:lnTo>
                <a:lnTo>
                  <a:pt x="10176312" y="6105371"/>
                </a:lnTo>
                <a:lnTo>
                  <a:pt x="10176312" y="6211926"/>
                </a:lnTo>
                <a:lnTo>
                  <a:pt x="10267500" y="6211926"/>
                </a:lnTo>
                <a:lnTo>
                  <a:pt x="10297850" y="6211926"/>
                </a:lnTo>
                <a:lnTo>
                  <a:pt x="10297850" y="6333813"/>
                </a:lnTo>
                <a:lnTo>
                  <a:pt x="10297850" y="6455700"/>
                </a:lnTo>
                <a:lnTo>
                  <a:pt x="10297850" y="6577586"/>
                </a:lnTo>
                <a:lnTo>
                  <a:pt x="10297850" y="6699473"/>
                </a:lnTo>
                <a:lnTo>
                  <a:pt x="10389125" y="6699473"/>
                </a:lnTo>
                <a:lnTo>
                  <a:pt x="10480540" y="6699473"/>
                </a:lnTo>
                <a:lnTo>
                  <a:pt x="10572095" y="6699473"/>
                </a:lnTo>
                <a:lnTo>
                  <a:pt x="10663510" y="6699473"/>
                </a:lnTo>
                <a:lnTo>
                  <a:pt x="10754785" y="6699473"/>
                </a:lnTo>
                <a:lnTo>
                  <a:pt x="10846199" y="6699473"/>
                </a:lnTo>
                <a:lnTo>
                  <a:pt x="10937754" y="6699473"/>
                </a:lnTo>
                <a:lnTo>
                  <a:pt x="11029169" y="6699473"/>
                </a:lnTo>
                <a:lnTo>
                  <a:pt x="11120444" y="6699473"/>
                </a:lnTo>
                <a:lnTo>
                  <a:pt x="11211859" y="6699473"/>
                </a:lnTo>
                <a:lnTo>
                  <a:pt x="11303274" y="6699473"/>
                </a:lnTo>
                <a:lnTo>
                  <a:pt x="11394828" y="6699473"/>
                </a:lnTo>
                <a:lnTo>
                  <a:pt x="11486104" y="6699473"/>
                </a:lnTo>
                <a:lnTo>
                  <a:pt x="11577518" y="6699473"/>
                </a:lnTo>
                <a:lnTo>
                  <a:pt x="11668933" y="6699473"/>
                </a:lnTo>
                <a:lnTo>
                  <a:pt x="11760488" y="6699473"/>
                </a:lnTo>
                <a:lnTo>
                  <a:pt x="11760488" y="6577586"/>
                </a:lnTo>
                <a:lnTo>
                  <a:pt x="11760488" y="6455700"/>
                </a:lnTo>
                <a:lnTo>
                  <a:pt x="11760488" y="6333813"/>
                </a:lnTo>
                <a:lnTo>
                  <a:pt x="11760488" y="6211926"/>
                </a:lnTo>
                <a:lnTo>
                  <a:pt x="11668933" y="6211926"/>
                </a:lnTo>
                <a:lnTo>
                  <a:pt x="11577518" y="6211926"/>
                </a:lnTo>
                <a:lnTo>
                  <a:pt x="11486104" y="6211926"/>
                </a:lnTo>
                <a:lnTo>
                  <a:pt x="11394828" y="6211926"/>
                </a:lnTo>
                <a:lnTo>
                  <a:pt x="11303274" y="6211926"/>
                </a:lnTo>
                <a:lnTo>
                  <a:pt x="11211859" y="6211926"/>
                </a:lnTo>
                <a:lnTo>
                  <a:pt x="11120444" y="6211926"/>
                </a:lnTo>
                <a:lnTo>
                  <a:pt x="11029169" y="6211926"/>
                </a:lnTo>
                <a:lnTo>
                  <a:pt x="10937754" y="6211926"/>
                </a:lnTo>
                <a:lnTo>
                  <a:pt x="10906933" y="6211926"/>
                </a:lnTo>
                <a:lnTo>
                  <a:pt x="10906933" y="6105371"/>
                </a:lnTo>
                <a:lnTo>
                  <a:pt x="10906933" y="5998816"/>
                </a:lnTo>
                <a:lnTo>
                  <a:pt x="10906933" y="5892262"/>
                </a:lnTo>
                <a:lnTo>
                  <a:pt x="10906933" y="5785847"/>
                </a:lnTo>
                <a:lnTo>
                  <a:pt x="10815605" y="5785847"/>
                </a:lnTo>
                <a:lnTo>
                  <a:pt x="10724138" y="5785847"/>
                </a:lnTo>
                <a:lnTo>
                  <a:pt x="10632810" y="5785847"/>
                </a:lnTo>
                <a:lnTo>
                  <a:pt x="10541622" y="5785847"/>
                </a:lnTo>
                <a:lnTo>
                  <a:pt x="10450295" y="5785847"/>
                </a:lnTo>
                <a:lnTo>
                  <a:pt x="10358828" y="5785847"/>
                </a:lnTo>
                <a:lnTo>
                  <a:pt x="10267500" y="5785847"/>
                </a:lnTo>
                <a:close/>
                <a:moveTo>
                  <a:pt x="0" y="0"/>
                </a:moveTo>
                <a:lnTo>
                  <a:pt x="12192000" y="0"/>
                </a:lnTo>
                <a:lnTo>
                  <a:pt x="12192000" y="6858000"/>
                </a:lnTo>
                <a:lnTo>
                  <a:pt x="0" y="6858000"/>
                </a:lnTo>
                <a:close/>
              </a:path>
            </a:pathLst>
          </a:custGeom>
          <a:blipFill>
            <a:blip r:embed="rId2"/>
            <a:stretch>
              <a:fillRect/>
            </a:stretch>
          </a:blipFill>
        </p:spPr>
        <p:txBody>
          <a:bodyPr>
            <a:normAutofit/>
          </a:bodyPr>
          <a:lstStyle>
            <a:lvl1pPr marL="0" marR="0" indent="0" algn="r" defTabSz="914400" rtl="0" eaLnBrk="1" fontAlgn="auto" latinLnBrk="0" hangingPunct="1">
              <a:lnSpc>
                <a:spcPct val="100000"/>
              </a:lnSpc>
              <a:spcBef>
                <a:spcPts val="800"/>
              </a:spcBef>
              <a:spcAft>
                <a:spcPts val="0"/>
              </a:spcAft>
              <a:buClr>
                <a:schemeClr val="accent2"/>
              </a:buClr>
              <a:buSzTx/>
              <a:buFontTx/>
              <a:buNone/>
              <a:tabLst/>
              <a:defRPr sz="1200">
                <a:solidFill>
                  <a:schemeClr val="bg1"/>
                </a:solidFill>
              </a:defRPr>
            </a:lvl1pPr>
          </a:lstStyle>
          <a:p>
            <a:r>
              <a:rPr lang="en-US"/>
              <a:t>Click icon to change picture</a:t>
            </a:r>
            <a:endParaRPr lang="en-GB"/>
          </a:p>
        </p:txBody>
      </p:sp>
      <p:sp>
        <p:nvSpPr>
          <p:cNvPr id="2" name="Title 1"/>
          <p:cNvSpPr>
            <a:spLocks noGrp="1"/>
          </p:cNvSpPr>
          <p:nvPr>
            <p:ph type="ctrTitle"/>
          </p:nvPr>
        </p:nvSpPr>
        <p:spPr>
          <a:xfrm>
            <a:off x="550866" y="1926000"/>
            <a:ext cx="9217025" cy="1296000"/>
          </a:xfrm>
        </p:spPr>
        <p:txBody>
          <a:bodyPr anchor="t" anchorCtr="0"/>
          <a:lstStyle>
            <a:lvl1pPr algn="l">
              <a:defRPr sz="5000" b="1">
                <a:solidFill>
                  <a:schemeClr val="bg1"/>
                </a:solidFill>
                <a:effectLst>
                  <a:outerShdw blurRad="254000" algn="ctr" rotWithShape="0">
                    <a:prstClr val="black">
                      <a:alpha val="35000"/>
                    </a:prstClr>
                  </a:outerShdw>
                </a:effectLst>
              </a:defRPr>
            </a:lvl1pPr>
          </a:lstStyle>
          <a:p>
            <a:r>
              <a:rPr lang="nb-NO"/>
              <a:t>Klikk for å redigere tittelstil</a:t>
            </a:r>
            <a:endParaRPr lang="en-US" dirty="0"/>
          </a:p>
        </p:txBody>
      </p:sp>
      <p:sp>
        <p:nvSpPr>
          <p:cNvPr id="3" name="Subtitle 2"/>
          <p:cNvSpPr>
            <a:spLocks noGrp="1"/>
          </p:cNvSpPr>
          <p:nvPr>
            <p:ph type="subTitle" idx="1"/>
          </p:nvPr>
        </p:nvSpPr>
        <p:spPr>
          <a:xfrm>
            <a:off x="550866" y="1404000"/>
            <a:ext cx="9217025" cy="360000"/>
          </a:xfrm>
        </p:spPr>
        <p:txBody>
          <a:bodyPr anchor="b" anchorCtr="0"/>
          <a:lstStyle>
            <a:lvl1pPr marL="0" indent="0" algn="l">
              <a:buNone/>
              <a:defRPr sz="2000">
                <a:solidFill>
                  <a:schemeClr val="bg1"/>
                </a:solidFill>
                <a:effectLst>
                  <a:outerShdw blurRad="254000" algn="ctr" rotWithShape="0">
                    <a:prstClr val="black">
                      <a:alpha val="35000"/>
                    </a:prstClr>
                  </a:outerShdw>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US" dirty="0"/>
          </a:p>
        </p:txBody>
      </p:sp>
      <p:sp>
        <p:nvSpPr>
          <p:cNvPr id="4" name="Date Placeholder 3"/>
          <p:cNvSpPr>
            <a:spLocks noGrp="1"/>
          </p:cNvSpPr>
          <p:nvPr>
            <p:ph type="dt" sz="half" idx="10"/>
          </p:nvPr>
        </p:nvSpPr>
        <p:spPr>
          <a:noFill/>
        </p:spPr>
        <p:txBody>
          <a:bodyPr/>
          <a:lstStyle>
            <a:lvl1pPr>
              <a:defRPr>
                <a:noFill/>
              </a:defRPr>
            </a:lvl1pPr>
          </a:lstStyle>
          <a:p>
            <a:fld id="{8710A53A-8F37-4A54-B108-F20291A65A07}" type="datetime1">
              <a:rPr lang="en-US" smtClean="0"/>
              <a:t>5/29/19</a:t>
            </a:fld>
            <a:endParaRPr lang="en-US"/>
          </a:p>
        </p:txBody>
      </p:sp>
      <p:sp>
        <p:nvSpPr>
          <p:cNvPr id="5" name="Footer Placeholder 4"/>
          <p:cNvSpPr>
            <a:spLocks noGrp="1"/>
          </p:cNvSpPr>
          <p:nvPr>
            <p:ph type="ftr" sz="quarter" idx="11"/>
          </p:nvPr>
        </p:nvSpPr>
        <p:spPr>
          <a:noFill/>
        </p:spPr>
        <p:txBody>
          <a:bodyPr/>
          <a:lstStyle>
            <a:lvl1pPr>
              <a:defRPr>
                <a:noFill/>
              </a:defRPr>
            </a:lvl1pPr>
          </a:lstStyle>
          <a:p>
            <a:endParaRPr lang="en-US"/>
          </a:p>
        </p:txBody>
      </p:sp>
      <p:sp>
        <p:nvSpPr>
          <p:cNvPr id="6" name="Slide Number Placeholder 5"/>
          <p:cNvSpPr>
            <a:spLocks noGrp="1"/>
          </p:cNvSpPr>
          <p:nvPr>
            <p:ph type="sldNum" sz="quarter" idx="12"/>
          </p:nvPr>
        </p:nvSpPr>
        <p:spPr>
          <a:noFill/>
        </p:spPr>
        <p:txBody>
          <a:bodyPr/>
          <a:lstStyle>
            <a:lvl1pPr>
              <a:defRPr>
                <a:noFill/>
              </a:defRPr>
            </a:lvl1pPr>
          </a:lstStyle>
          <a:p>
            <a:fld id="{F90E5A77-D385-4CDE-8FE8-D3E3CBE93E71}" type="slidenum">
              <a:rPr lang="en-US" smtClean="0"/>
              <a:pPr/>
              <a:t>‹#›</a:t>
            </a:fld>
            <a:endParaRPr lang="en-US"/>
          </a:p>
        </p:txBody>
      </p:sp>
      <p:sp>
        <p:nvSpPr>
          <p:cNvPr id="12" name="Text Placeholder 11"/>
          <p:cNvSpPr>
            <a:spLocks noGrp="1"/>
          </p:cNvSpPr>
          <p:nvPr>
            <p:ph type="body" sz="quarter" idx="13" hasCustomPrompt="1"/>
          </p:nvPr>
        </p:nvSpPr>
        <p:spPr>
          <a:xfrm>
            <a:off x="550866" y="4653136"/>
            <a:ext cx="9217025" cy="720552"/>
          </a:xfrm>
        </p:spPr>
        <p:txBody>
          <a:bodyPr/>
          <a:lstStyle>
            <a:lvl1pPr marL="0" indent="0">
              <a:buFontTx/>
              <a:buNone/>
              <a:defRPr baseline="0">
                <a:solidFill>
                  <a:schemeClr val="bg1"/>
                </a:solidFill>
                <a:effectLst>
                  <a:outerShdw blurRad="254000" algn="ctr" rotWithShape="0">
                    <a:prstClr val="black">
                      <a:alpha val="35000"/>
                    </a:prstClr>
                  </a:outerShdw>
                </a:effectLst>
              </a:defRPr>
            </a:lvl1pPr>
          </a:lstStyle>
          <a:p>
            <a:pPr lvl="0"/>
            <a:r>
              <a:rPr lang="en-US" dirty="0"/>
              <a:t>Name / Title / Date</a:t>
            </a:r>
          </a:p>
        </p:txBody>
      </p:sp>
      <p:sp>
        <p:nvSpPr>
          <p:cNvPr id="13" name="Text Placeholder 21"/>
          <p:cNvSpPr>
            <a:spLocks noGrp="1"/>
          </p:cNvSpPr>
          <p:nvPr>
            <p:ph type="body" sz="quarter" idx="15" hasCustomPrompt="1"/>
          </p:nvPr>
        </p:nvSpPr>
        <p:spPr>
          <a:xfrm>
            <a:off x="0" y="-2098"/>
            <a:ext cx="1299600" cy="831600"/>
          </a:xfrm>
          <a:blipFill>
            <a:blip r:embed="rId3" cstate="screen">
              <a:extLst>
                <a:ext uri="{28A0092B-C50C-407E-A947-70E740481C1C}">
                  <a14:useLocalDpi xmlns:a14="http://schemas.microsoft.com/office/drawing/2010/main"/>
                </a:ext>
              </a:extLst>
            </a:blip>
            <a:stretch>
              <a:fillRect/>
            </a:stretch>
          </a:blipFill>
        </p:spPr>
        <p:txBody>
          <a:bodyPr>
            <a:normAutofit/>
          </a:bodyPr>
          <a:lstStyle>
            <a:lvl1pPr marL="0" indent="0">
              <a:buFontTx/>
              <a:buNone/>
              <a:defRPr sz="200">
                <a:noFill/>
              </a:defRPr>
            </a:lvl1pPr>
          </a:lstStyle>
          <a:p>
            <a:pPr lvl="0"/>
            <a:r>
              <a:rPr lang="fi-FI" dirty="0"/>
              <a:t> </a:t>
            </a:r>
          </a:p>
        </p:txBody>
      </p:sp>
    </p:spTree>
    <p:extLst>
      <p:ext uri="{BB962C8B-B14F-4D97-AF65-F5344CB8AC3E}">
        <p14:creationId xmlns:p14="http://schemas.microsoft.com/office/powerpoint/2010/main" val="31870068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_slide_picture_2nd">
    <p:spTree>
      <p:nvGrpSpPr>
        <p:cNvPr id="1" name=""/>
        <p:cNvGrpSpPr/>
        <p:nvPr/>
      </p:nvGrpSpPr>
      <p:grpSpPr>
        <a:xfrm>
          <a:off x="0" y="0"/>
          <a:ext cx="0" cy="0"/>
          <a:chOff x="0" y="0"/>
          <a:chExt cx="0" cy="0"/>
        </a:xfrm>
      </p:grpSpPr>
      <p:grpSp>
        <p:nvGrpSpPr>
          <p:cNvPr id="20" name="Group 19"/>
          <p:cNvGrpSpPr>
            <a:grpSpLocks noChangeAspect="1"/>
          </p:cNvGrpSpPr>
          <p:nvPr userDrawn="1"/>
        </p:nvGrpSpPr>
        <p:grpSpPr>
          <a:xfrm>
            <a:off x="10297850" y="6211927"/>
            <a:ext cx="1462638" cy="487547"/>
            <a:chOff x="10297850" y="6211927"/>
            <a:chExt cx="1462638" cy="487547"/>
          </a:xfrm>
        </p:grpSpPr>
        <p:sp>
          <p:nvSpPr>
            <p:cNvPr id="21" name="Freeform 6"/>
            <p:cNvSpPr>
              <a:spLocks/>
            </p:cNvSpPr>
            <p:nvPr userDrawn="1"/>
          </p:nvSpPr>
          <p:spPr bwMode="auto">
            <a:xfrm>
              <a:off x="10297850" y="6211927"/>
              <a:ext cx="1462638" cy="487547"/>
            </a:xfrm>
            <a:custGeom>
              <a:avLst/>
              <a:gdLst>
                <a:gd name="T0" fmla="*/ 0 w 10464"/>
                <a:gd name="T1" fmla="*/ 3488 h 3488"/>
                <a:gd name="T2" fmla="*/ 653 w 10464"/>
                <a:gd name="T3" fmla="*/ 3488 h 3488"/>
                <a:gd name="T4" fmla="*/ 1307 w 10464"/>
                <a:gd name="T5" fmla="*/ 3488 h 3488"/>
                <a:gd name="T6" fmla="*/ 1962 w 10464"/>
                <a:gd name="T7" fmla="*/ 3488 h 3488"/>
                <a:gd name="T8" fmla="*/ 2616 w 10464"/>
                <a:gd name="T9" fmla="*/ 3488 h 3488"/>
                <a:gd name="T10" fmla="*/ 3269 w 10464"/>
                <a:gd name="T11" fmla="*/ 3488 h 3488"/>
                <a:gd name="T12" fmla="*/ 3923 w 10464"/>
                <a:gd name="T13" fmla="*/ 3488 h 3488"/>
                <a:gd name="T14" fmla="*/ 4578 w 10464"/>
                <a:gd name="T15" fmla="*/ 3488 h 3488"/>
                <a:gd name="T16" fmla="*/ 5232 w 10464"/>
                <a:gd name="T17" fmla="*/ 3488 h 3488"/>
                <a:gd name="T18" fmla="*/ 5885 w 10464"/>
                <a:gd name="T19" fmla="*/ 3488 h 3488"/>
                <a:gd name="T20" fmla="*/ 6539 w 10464"/>
                <a:gd name="T21" fmla="*/ 3488 h 3488"/>
                <a:gd name="T22" fmla="*/ 7193 w 10464"/>
                <a:gd name="T23" fmla="*/ 3488 h 3488"/>
                <a:gd name="T24" fmla="*/ 7848 w 10464"/>
                <a:gd name="T25" fmla="*/ 3488 h 3488"/>
                <a:gd name="T26" fmla="*/ 8501 w 10464"/>
                <a:gd name="T27" fmla="*/ 3488 h 3488"/>
                <a:gd name="T28" fmla="*/ 9155 w 10464"/>
                <a:gd name="T29" fmla="*/ 3488 h 3488"/>
                <a:gd name="T30" fmla="*/ 9809 w 10464"/>
                <a:gd name="T31" fmla="*/ 3488 h 3488"/>
                <a:gd name="T32" fmla="*/ 10464 w 10464"/>
                <a:gd name="T33" fmla="*/ 3488 h 3488"/>
                <a:gd name="T34" fmla="*/ 10464 w 10464"/>
                <a:gd name="T35" fmla="*/ 2616 h 3488"/>
                <a:gd name="T36" fmla="*/ 10464 w 10464"/>
                <a:gd name="T37" fmla="*/ 1744 h 3488"/>
                <a:gd name="T38" fmla="*/ 10464 w 10464"/>
                <a:gd name="T39" fmla="*/ 872 h 3488"/>
                <a:gd name="T40" fmla="*/ 10464 w 10464"/>
                <a:gd name="T41" fmla="*/ 0 h 3488"/>
                <a:gd name="T42" fmla="*/ 9809 w 10464"/>
                <a:gd name="T43" fmla="*/ 0 h 3488"/>
                <a:gd name="T44" fmla="*/ 9155 w 10464"/>
                <a:gd name="T45" fmla="*/ 0 h 3488"/>
                <a:gd name="T46" fmla="*/ 8501 w 10464"/>
                <a:gd name="T47" fmla="*/ 0 h 3488"/>
                <a:gd name="T48" fmla="*/ 7848 w 10464"/>
                <a:gd name="T49" fmla="*/ 0 h 3488"/>
                <a:gd name="T50" fmla="*/ 7193 w 10464"/>
                <a:gd name="T51" fmla="*/ 0 h 3488"/>
                <a:gd name="T52" fmla="*/ 6539 w 10464"/>
                <a:gd name="T53" fmla="*/ 0 h 3488"/>
                <a:gd name="T54" fmla="*/ 5885 w 10464"/>
                <a:gd name="T55" fmla="*/ 0 h 3488"/>
                <a:gd name="T56" fmla="*/ 5232 w 10464"/>
                <a:gd name="T57" fmla="*/ 0 h 3488"/>
                <a:gd name="T58" fmla="*/ 4578 w 10464"/>
                <a:gd name="T59" fmla="*/ 0 h 3488"/>
                <a:gd name="T60" fmla="*/ 3923 w 10464"/>
                <a:gd name="T61" fmla="*/ 0 h 3488"/>
                <a:gd name="T62" fmla="*/ 3269 w 10464"/>
                <a:gd name="T63" fmla="*/ 0 h 3488"/>
                <a:gd name="T64" fmla="*/ 2616 w 10464"/>
                <a:gd name="T65" fmla="*/ 0 h 3488"/>
                <a:gd name="T66" fmla="*/ 1962 w 10464"/>
                <a:gd name="T67" fmla="*/ 0 h 3488"/>
                <a:gd name="T68" fmla="*/ 1307 w 10464"/>
                <a:gd name="T69" fmla="*/ 0 h 3488"/>
                <a:gd name="T70" fmla="*/ 653 w 10464"/>
                <a:gd name="T71" fmla="*/ 0 h 3488"/>
                <a:gd name="T72" fmla="*/ 0 w 10464"/>
                <a:gd name="T73" fmla="*/ 0 h 3488"/>
                <a:gd name="T74" fmla="*/ 0 w 10464"/>
                <a:gd name="T75" fmla="*/ 872 h 3488"/>
                <a:gd name="T76" fmla="*/ 0 w 10464"/>
                <a:gd name="T77" fmla="*/ 1744 h 3488"/>
                <a:gd name="T78" fmla="*/ 0 w 10464"/>
                <a:gd name="T79" fmla="*/ 2616 h 3488"/>
                <a:gd name="T80" fmla="*/ 0 w 10464"/>
                <a:gd name="T81" fmla="*/ 3488 h 3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464" h="3488">
                  <a:moveTo>
                    <a:pt x="0" y="3488"/>
                  </a:moveTo>
                  <a:lnTo>
                    <a:pt x="653" y="3488"/>
                  </a:lnTo>
                  <a:lnTo>
                    <a:pt x="1307" y="3488"/>
                  </a:lnTo>
                  <a:lnTo>
                    <a:pt x="1962" y="3488"/>
                  </a:lnTo>
                  <a:lnTo>
                    <a:pt x="2616" y="3488"/>
                  </a:lnTo>
                  <a:lnTo>
                    <a:pt x="3269" y="3488"/>
                  </a:lnTo>
                  <a:lnTo>
                    <a:pt x="3923" y="3488"/>
                  </a:lnTo>
                  <a:lnTo>
                    <a:pt x="4578" y="3488"/>
                  </a:lnTo>
                  <a:lnTo>
                    <a:pt x="5232" y="3488"/>
                  </a:lnTo>
                  <a:lnTo>
                    <a:pt x="5885" y="3488"/>
                  </a:lnTo>
                  <a:lnTo>
                    <a:pt x="6539" y="3488"/>
                  </a:lnTo>
                  <a:lnTo>
                    <a:pt x="7193" y="3488"/>
                  </a:lnTo>
                  <a:lnTo>
                    <a:pt x="7848" y="3488"/>
                  </a:lnTo>
                  <a:lnTo>
                    <a:pt x="8501" y="3488"/>
                  </a:lnTo>
                  <a:lnTo>
                    <a:pt x="9155" y="3488"/>
                  </a:lnTo>
                  <a:lnTo>
                    <a:pt x="9809" y="3488"/>
                  </a:lnTo>
                  <a:lnTo>
                    <a:pt x="10464" y="3488"/>
                  </a:lnTo>
                  <a:lnTo>
                    <a:pt x="10464" y="2616"/>
                  </a:lnTo>
                  <a:lnTo>
                    <a:pt x="10464" y="1744"/>
                  </a:lnTo>
                  <a:lnTo>
                    <a:pt x="10464" y="872"/>
                  </a:lnTo>
                  <a:lnTo>
                    <a:pt x="10464" y="0"/>
                  </a:lnTo>
                  <a:lnTo>
                    <a:pt x="9809" y="0"/>
                  </a:lnTo>
                  <a:lnTo>
                    <a:pt x="9155" y="0"/>
                  </a:lnTo>
                  <a:lnTo>
                    <a:pt x="8501" y="0"/>
                  </a:lnTo>
                  <a:lnTo>
                    <a:pt x="7848" y="0"/>
                  </a:lnTo>
                  <a:lnTo>
                    <a:pt x="7193" y="0"/>
                  </a:lnTo>
                  <a:lnTo>
                    <a:pt x="6539" y="0"/>
                  </a:lnTo>
                  <a:lnTo>
                    <a:pt x="5885" y="0"/>
                  </a:lnTo>
                  <a:lnTo>
                    <a:pt x="5232" y="0"/>
                  </a:lnTo>
                  <a:lnTo>
                    <a:pt x="4578" y="0"/>
                  </a:lnTo>
                  <a:lnTo>
                    <a:pt x="3923" y="0"/>
                  </a:lnTo>
                  <a:lnTo>
                    <a:pt x="3269" y="0"/>
                  </a:lnTo>
                  <a:lnTo>
                    <a:pt x="2616" y="0"/>
                  </a:lnTo>
                  <a:lnTo>
                    <a:pt x="1962" y="0"/>
                  </a:lnTo>
                  <a:lnTo>
                    <a:pt x="1307" y="0"/>
                  </a:lnTo>
                  <a:lnTo>
                    <a:pt x="653" y="0"/>
                  </a:lnTo>
                  <a:lnTo>
                    <a:pt x="0" y="0"/>
                  </a:lnTo>
                  <a:lnTo>
                    <a:pt x="0" y="872"/>
                  </a:lnTo>
                  <a:lnTo>
                    <a:pt x="0" y="1744"/>
                  </a:lnTo>
                  <a:lnTo>
                    <a:pt x="0" y="2616"/>
                  </a:lnTo>
                  <a:lnTo>
                    <a:pt x="0" y="3488"/>
                  </a:lnTo>
                  <a:close/>
                </a:path>
              </a:pathLst>
            </a:custGeom>
            <a:solidFill>
              <a:srgbClr val="5AC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2" name="Freeform 7"/>
            <p:cNvSpPr>
              <a:spLocks noEditPoints="1"/>
            </p:cNvSpPr>
            <p:nvPr userDrawn="1"/>
          </p:nvSpPr>
          <p:spPr bwMode="auto">
            <a:xfrm>
              <a:off x="10419386" y="6306922"/>
              <a:ext cx="1218166" cy="286381"/>
            </a:xfrm>
            <a:custGeom>
              <a:avLst/>
              <a:gdLst>
                <a:gd name="T0" fmla="*/ 3454 w 8720"/>
                <a:gd name="T1" fmla="*/ 1049 h 2050"/>
                <a:gd name="T2" fmla="*/ 3166 w 8720"/>
                <a:gd name="T3" fmla="*/ 1051 h 2050"/>
                <a:gd name="T4" fmla="*/ 3068 w 8720"/>
                <a:gd name="T5" fmla="*/ 1409 h 2050"/>
                <a:gd name="T6" fmla="*/ 3261 w 8720"/>
                <a:gd name="T7" fmla="*/ 1675 h 2050"/>
                <a:gd name="T8" fmla="*/ 3519 w 8720"/>
                <a:gd name="T9" fmla="*/ 1539 h 2050"/>
                <a:gd name="T10" fmla="*/ 3863 w 8720"/>
                <a:gd name="T11" fmla="*/ 1565 h 2050"/>
                <a:gd name="T12" fmla="*/ 3603 w 8720"/>
                <a:gd name="T13" fmla="*/ 1898 h 2050"/>
                <a:gd name="T14" fmla="*/ 3188 w 8720"/>
                <a:gd name="T15" fmla="*/ 1959 h 2050"/>
                <a:gd name="T16" fmla="*/ 2786 w 8720"/>
                <a:gd name="T17" fmla="*/ 1655 h 2050"/>
                <a:gd name="T18" fmla="*/ 2732 w 8720"/>
                <a:gd name="T19" fmla="*/ 1207 h 2050"/>
                <a:gd name="T20" fmla="*/ 3018 w 8720"/>
                <a:gd name="T21" fmla="*/ 786 h 2050"/>
                <a:gd name="T22" fmla="*/ 3503 w 8720"/>
                <a:gd name="T23" fmla="*/ 740 h 2050"/>
                <a:gd name="T24" fmla="*/ 3857 w 8720"/>
                <a:gd name="T25" fmla="*/ 1088 h 2050"/>
                <a:gd name="T26" fmla="*/ 4586 w 8720"/>
                <a:gd name="T27" fmla="*/ 1045 h 2050"/>
                <a:gd name="T28" fmla="*/ 4361 w 8720"/>
                <a:gd name="T29" fmla="*/ 1327 h 2050"/>
                <a:gd name="T30" fmla="*/ 4391 w 8720"/>
                <a:gd name="T31" fmla="*/ 895 h 2050"/>
                <a:gd name="T32" fmla="*/ 4703 w 8720"/>
                <a:gd name="T33" fmla="*/ 728 h 2050"/>
                <a:gd name="T34" fmla="*/ 5384 w 8720"/>
                <a:gd name="T35" fmla="*/ 1679 h 2050"/>
                <a:gd name="T36" fmla="*/ 5258 w 8720"/>
                <a:gd name="T37" fmla="*/ 1026 h 2050"/>
                <a:gd name="T38" fmla="*/ 4962 w 8720"/>
                <a:gd name="T39" fmla="*/ 1758 h 2050"/>
                <a:gd name="T40" fmla="*/ 5374 w 8720"/>
                <a:gd name="T41" fmla="*/ 1960 h 2050"/>
                <a:gd name="T42" fmla="*/ 6441 w 8720"/>
                <a:gd name="T43" fmla="*/ 1538 h 2050"/>
                <a:gd name="T44" fmla="*/ 6231 w 8720"/>
                <a:gd name="T45" fmla="*/ 1676 h 2050"/>
                <a:gd name="T46" fmla="*/ 6056 w 8720"/>
                <a:gd name="T47" fmla="*/ 1487 h 2050"/>
                <a:gd name="T48" fmla="*/ 5746 w 8720"/>
                <a:gd name="T49" fmla="*/ 1671 h 2050"/>
                <a:gd name="T50" fmla="*/ 5949 w 8720"/>
                <a:gd name="T51" fmla="*/ 1899 h 2050"/>
                <a:gd name="T52" fmla="*/ 6505 w 8720"/>
                <a:gd name="T53" fmla="*/ 1921 h 2050"/>
                <a:gd name="T54" fmla="*/ 6769 w 8720"/>
                <a:gd name="T55" fmla="*/ 1628 h 2050"/>
                <a:gd name="T56" fmla="*/ 8698 w 8720"/>
                <a:gd name="T57" fmla="*/ 985 h 2050"/>
                <a:gd name="T58" fmla="*/ 8484 w 8720"/>
                <a:gd name="T59" fmla="*/ 747 h 2050"/>
                <a:gd name="T60" fmla="*/ 8083 w 8720"/>
                <a:gd name="T61" fmla="*/ 806 h 2050"/>
                <a:gd name="T62" fmla="*/ 7885 w 8720"/>
                <a:gd name="T63" fmla="*/ 840 h 2050"/>
                <a:gd name="T64" fmla="*/ 7630 w 8720"/>
                <a:gd name="T65" fmla="*/ 721 h 2050"/>
                <a:gd name="T66" fmla="*/ 7324 w 8720"/>
                <a:gd name="T67" fmla="*/ 871 h 2050"/>
                <a:gd name="T68" fmla="*/ 7270 w 8720"/>
                <a:gd name="T69" fmla="*/ 1283 h 2050"/>
                <a:gd name="T70" fmla="*/ 7447 w 8720"/>
                <a:gd name="T71" fmla="*/ 1034 h 2050"/>
                <a:gd name="T72" fmla="*/ 7645 w 8720"/>
                <a:gd name="T73" fmla="*/ 1211 h 2050"/>
                <a:gd name="T74" fmla="*/ 8034 w 8720"/>
                <a:gd name="T75" fmla="*/ 1138 h 2050"/>
                <a:gd name="T76" fmla="*/ 8289 w 8720"/>
                <a:gd name="T77" fmla="*/ 1046 h 2050"/>
                <a:gd name="T78" fmla="*/ 8377 w 8720"/>
                <a:gd name="T79" fmla="*/ 1938 h 2050"/>
                <a:gd name="T80" fmla="*/ 2458 w 8720"/>
                <a:gd name="T81" fmla="*/ 483 h 2050"/>
                <a:gd name="T82" fmla="*/ 2107 w 8720"/>
                <a:gd name="T83" fmla="*/ 1483 h 2050"/>
                <a:gd name="T84" fmla="*/ 2152 w 8720"/>
                <a:gd name="T85" fmla="*/ 299 h 2050"/>
                <a:gd name="T86" fmla="*/ 2419 w 8720"/>
                <a:gd name="T87" fmla="*/ 83 h 2050"/>
                <a:gd name="T88" fmla="*/ 2622 w 8720"/>
                <a:gd name="T89" fmla="*/ 369 h 2050"/>
                <a:gd name="T90" fmla="*/ 1130 w 8720"/>
                <a:gd name="T91" fmla="*/ 2050 h 2050"/>
                <a:gd name="T92" fmla="*/ 570 w 8720"/>
                <a:gd name="T93" fmla="*/ 1915 h 2050"/>
                <a:gd name="T94" fmla="*/ 120 w 8720"/>
                <a:gd name="T95" fmla="*/ 1452 h 2050"/>
                <a:gd name="T96" fmla="*/ 8 w 8720"/>
                <a:gd name="T97" fmla="*/ 822 h 2050"/>
                <a:gd name="T98" fmla="*/ 222 w 8720"/>
                <a:gd name="T99" fmla="*/ 289 h 2050"/>
                <a:gd name="T100" fmla="*/ 690 w 8720"/>
                <a:gd name="T101" fmla="*/ 389 h 2050"/>
                <a:gd name="T102" fmla="*/ 424 w 8720"/>
                <a:gd name="T103" fmla="*/ 782 h 2050"/>
                <a:gd name="T104" fmla="*/ 460 w 8720"/>
                <a:gd name="T105" fmla="*/ 1242 h 2050"/>
                <a:gd name="T106" fmla="*/ 783 w 8720"/>
                <a:gd name="T107" fmla="*/ 1573 h 2050"/>
                <a:gd name="T108" fmla="*/ 1246 w 8720"/>
                <a:gd name="T109" fmla="*/ 1632 h 2050"/>
                <a:gd name="T110" fmla="*/ 745 w 8720"/>
                <a:gd name="T111" fmla="*/ 1453 h 2050"/>
                <a:gd name="T112" fmla="*/ 1347 w 8720"/>
                <a:gd name="T113" fmla="*/ 1509 h 2050"/>
                <a:gd name="T114" fmla="*/ 1693 w 8720"/>
                <a:gd name="T115" fmla="*/ 1099 h 2050"/>
                <a:gd name="T116" fmla="*/ 1523 w 8720"/>
                <a:gd name="T117" fmla="*/ 505 h 2050"/>
                <a:gd name="T118" fmla="*/ 1152 w 8720"/>
                <a:gd name="T119" fmla="*/ 342 h 2050"/>
                <a:gd name="T120" fmla="*/ 691 w 8720"/>
                <a:gd name="T121" fmla="*/ 497 h 2050"/>
                <a:gd name="T122" fmla="*/ 491 w 8720"/>
                <a:gd name="T123" fmla="*/ 1037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720" h="2050">
                  <a:moveTo>
                    <a:pt x="3554" y="1338"/>
                  </a:moveTo>
                  <a:lnTo>
                    <a:pt x="3553" y="1299"/>
                  </a:lnTo>
                  <a:lnTo>
                    <a:pt x="3550" y="1263"/>
                  </a:lnTo>
                  <a:lnTo>
                    <a:pt x="3546" y="1228"/>
                  </a:lnTo>
                  <a:lnTo>
                    <a:pt x="3538" y="1196"/>
                  </a:lnTo>
                  <a:lnTo>
                    <a:pt x="3529" y="1165"/>
                  </a:lnTo>
                  <a:lnTo>
                    <a:pt x="3518" y="1137"/>
                  </a:lnTo>
                  <a:lnTo>
                    <a:pt x="3511" y="1124"/>
                  </a:lnTo>
                  <a:lnTo>
                    <a:pt x="3504" y="1112"/>
                  </a:lnTo>
                  <a:lnTo>
                    <a:pt x="3490" y="1088"/>
                  </a:lnTo>
                  <a:lnTo>
                    <a:pt x="3473" y="1068"/>
                  </a:lnTo>
                  <a:lnTo>
                    <a:pt x="3454" y="1049"/>
                  </a:lnTo>
                  <a:lnTo>
                    <a:pt x="3436" y="1034"/>
                  </a:lnTo>
                  <a:lnTo>
                    <a:pt x="3413" y="1022"/>
                  </a:lnTo>
                  <a:lnTo>
                    <a:pt x="3390" y="1012"/>
                  </a:lnTo>
                  <a:lnTo>
                    <a:pt x="3366" y="1004"/>
                  </a:lnTo>
                  <a:lnTo>
                    <a:pt x="3339" y="1000"/>
                  </a:lnTo>
                  <a:lnTo>
                    <a:pt x="3311" y="998"/>
                  </a:lnTo>
                  <a:lnTo>
                    <a:pt x="3283" y="1000"/>
                  </a:lnTo>
                  <a:lnTo>
                    <a:pt x="3257" y="1004"/>
                  </a:lnTo>
                  <a:lnTo>
                    <a:pt x="3232" y="1012"/>
                  </a:lnTo>
                  <a:lnTo>
                    <a:pt x="3209" y="1022"/>
                  </a:lnTo>
                  <a:lnTo>
                    <a:pt x="3187" y="1035"/>
                  </a:lnTo>
                  <a:lnTo>
                    <a:pt x="3166" y="1051"/>
                  </a:lnTo>
                  <a:lnTo>
                    <a:pt x="3148" y="1069"/>
                  </a:lnTo>
                  <a:lnTo>
                    <a:pt x="3130" y="1091"/>
                  </a:lnTo>
                  <a:lnTo>
                    <a:pt x="3116" y="1114"/>
                  </a:lnTo>
                  <a:lnTo>
                    <a:pt x="3102" y="1139"/>
                  </a:lnTo>
                  <a:lnTo>
                    <a:pt x="3090" y="1167"/>
                  </a:lnTo>
                  <a:lnTo>
                    <a:pt x="3081" y="1197"/>
                  </a:lnTo>
                  <a:lnTo>
                    <a:pt x="3073" y="1228"/>
                  </a:lnTo>
                  <a:lnTo>
                    <a:pt x="3068" y="1263"/>
                  </a:lnTo>
                  <a:lnTo>
                    <a:pt x="3065" y="1298"/>
                  </a:lnTo>
                  <a:lnTo>
                    <a:pt x="3063" y="1336"/>
                  </a:lnTo>
                  <a:lnTo>
                    <a:pt x="3065" y="1374"/>
                  </a:lnTo>
                  <a:lnTo>
                    <a:pt x="3068" y="1409"/>
                  </a:lnTo>
                  <a:lnTo>
                    <a:pt x="3073" y="1444"/>
                  </a:lnTo>
                  <a:lnTo>
                    <a:pt x="3081" y="1477"/>
                  </a:lnTo>
                  <a:lnTo>
                    <a:pt x="3091" y="1507"/>
                  </a:lnTo>
                  <a:lnTo>
                    <a:pt x="3102" y="1536"/>
                  </a:lnTo>
                  <a:lnTo>
                    <a:pt x="3117" y="1562"/>
                  </a:lnTo>
                  <a:lnTo>
                    <a:pt x="3132" y="1586"/>
                  </a:lnTo>
                  <a:lnTo>
                    <a:pt x="3149" y="1607"/>
                  </a:lnTo>
                  <a:lnTo>
                    <a:pt x="3169" y="1626"/>
                  </a:lnTo>
                  <a:lnTo>
                    <a:pt x="3189" y="1643"/>
                  </a:lnTo>
                  <a:lnTo>
                    <a:pt x="3211" y="1656"/>
                  </a:lnTo>
                  <a:lnTo>
                    <a:pt x="3236" y="1667"/>
                  </a:lnTo>
                  <a:lnTo>
                    <a:pt x="3261" y="1675"/>
                  </a:lnTo>
                  <a:lnTo>
                    <a:pt x="3288" y="1679"/>
                  </a:lnTo>
                  <a:lnTo>
                    <a:pt x="3317" y="1680"/>
                  </a:lnTo>
                  <a:lnTo>
                    <a:pt x="3343" y="1679"/>
                  </a:lnTo>
                  <a:lnTo>
                    <a:pt x="3369" y="1675"/>
                  </a:lnTo>
                  <a:lnTo>
                    <a:pt x="3393" y="1667"/>
                  </a:lnTo>
                  <a:lnTo>
                    <a:pt x="3417" y="1657"/>
                  </a:lnTo>
                  <a:lnTo>
                    <a:pt x="3438" y="1644"/>
                  </a:lnTo>
                  <a:lnTo>
                    <a:pt x="3458" y="1628"/>
                  </a:lnTo>
                  <a:lnTo>
                    <a:pt x="3476" y="1609"/>
                  </a:lnTo>
                  <a:lnTo>
                    <a:pt x="3491" y="1588"/>
                  </a:lnTo>
                  <a:lnTo>
                    <a:pt x="3506" y="1565"/>
                  </a:lnTo>
                  <a:lnTo>
                    <a:pt x="3519" y="1539"/>
                  </a:lnTo>
                  <a:lnTo>
                    <a:pt x="3529" y="1512"/>
                  </a:lnTo>
                  <a:lnTo>
                    <a:pt x="3538" y="1480"/>
                  </a:lnTo>
                  <a:lnTo>
                    <a:pt x="3546" y="1448"/>
                  </a:lnTo>
                  <a:lnTo>
                    <a:pt x="3550" y="1414"/>
                  </a:lnTo>
                  <a:lnTo>
                    <a:pt x="3553" y="1377"/>
                  </a:lnTo>
                  <a:lnTo>
                    <a:pt x="3554" y="1338"/>
                  </a:lnTo>
                  <a:close/>
                  <a:moveTo>
                    <a:pt x="3897" y="1340"/>
                  </a:moveTo>
                  <a:lnTo>
                    <a:pt x="3893" y="1408"/>
                  </a:lnTo>
                  <a:lnTo>
                    <a:pt x="3885" y="1474"/>
                  </a:lnTo>
                  <a:lnTo>
                    <a:pt x="3880" y="1505"/>
                  </a:lnTo>
                  <a:lnTo>
                    <a:pt x="3872" y="1536"/>
                  </a:lnTo>
                  <a:lnTo>
                    <a:pt x="3863" y="1565"/>
                  </a:lnTo>
                  <a:lnTo>
                    <a:pt x="3853" y="1595"/>
                  </a:lnTo>
                  <a:lnTo>
                    <a:pt x="3843" y="1623"/>
                  </a:lnTo>
                  <a:lnTo>
                    <a:pt x="3831" y="1649"/>
                  </a:lnTo>
                  <a:lnTo>
                    <a:pt x="3803" y="1701"/>
                  </a:lnTo>
                  <a:lnTo>
                    <a:pt x="3771" y="1749"/>
                  </a:lnTo>
                  <a:lnTo>
                    <a:pt x="3753" y="1773"/>
                  </a:lnTo>
                  <a:lnTo>
                    <a:pt x="3734" y="1794"/>
                  </a:lnTo>
                  <a:lnTo>
                    <a:pt x="3716" y="1814"/>
                  </a:lnTo>
                  <a:lnTo>
                    <a:pt x="3694" y="1834"/>
                  </a:lnTo>
                  <a:lnTo>
                    <a:pt x="3650" y="1868"/>
                  </a:lnTo>
                  <a:lnTo>
                    <a:pt x="3627" y="1884"/>
                  </a:lnTo>
                  <a:lnTo>
                    <a:pt x="3603" y="1898"/>
                  </a:lnTo>
                  <a:lnTo>
                    <a:pt x="3552" y="1924"/>
                  </a:lnTo>
                  <a:lnTo>
                    <a:pt x="3526" y="1935"/>
                  </a:lnTo>
                  <a:lnTo>
                    <a:pt x="3498" y="1944"/>
                  </a:lnTo>
                  <a:lnTo>
                    <a:pt x="3470" y="1951"/>
                  </a:lnTo>
                  <a:lnTo>
                    <a:pt x="3441" y="1958"/>
                  </a:lnTo>
                  <a:lnTo>
                    <a:pt x="3411" y="1964"/>
                  </a:lnTo>
                  <a:lnTo>
                    <a:pt x="3381" y="1967"/>
                  </a:lnTo>
                  <a:lnTo>
                    <a:pt x="3319" y="1970"/>
                  </a:lnTo>
                  <a:lnTo>
                    <a:pt x="3285" y="1969"/>
                  </a:lnTo>
                  <a:lnTo>
                    <a:pt x="3252" y="1967"/>
                  </a:lnTo>
                  <a:lnTo>
                    <a:pt x="3220" y="1964"/>
                  </a:lnTo>
                  <a:lnTo>
                    <a:pt x="3188" y="1959"/>
                  </a:lnTo>
                  <a:lnTo>
                    <a:pt x="3158" y="1953"/>
                  </a:lnTo>
                  <a:lnTo>
                    <a:pt x="3128" y="1945"/>
                  </a:lnTo>
                  <a:lnTo>
                    <a:pt x="3071" y="1926"/>
                  </a:lnTo>
                  <a:lnTo>
                    <a:pt x="3018" y="1901"/>
                  </a:lnTo>
                  <a:lnTo>
                    <a:pt x="2993" y="1887"/>
                  </a:lnTo>
                  <a:lnTo>
                    <a:pt x="2969" y="1871"/>
                  </a:lnTo>
                  <a:lnTo>
                    <a:pt x="2924" y="1837"/>
                  </a:lnTo>
                  <a:lnTo>
                    <a:pt x="2882" y="1798"/>
                  </a:lnTo>
                  <a:lnTo>
                    <a:pt x="2864" y="1777"/>
                  </a:lnTo>
                  <a:lnTo>
                    <a:pt x="2846" y="1755"/>
                  </a:lnTo>
                  <a:lnTo>
                    <a:pt x="2814" y="1707"/>
                  </a:lnTo>
                  <a:lnTo>
                    <a:pt x="2786" y="1655"/>
                  </a:lnTo>
                  <a:lnTo>
                    <a:pt x="2775" y="1627"/>
                  </a:lnTo>
                  <a:lnTo>
                    <a:pt x="2764" y="1598"/>
                  </a:lnTo>
                  <a:lnTo>
                    <a:pt x="2754" y="1569"/>
                  </a:lnTo>
                  <a:lnTo>
                    <a:pt x="2746" y="1538"/>
                  </a:lnTo>
                  <a:lnTo>
                    <a:pt x="2738" y="1507"/>
                  </a:lnTo>
                  <a:lnTo>
                    <a:pt x="2732" y="1474"/>
                  </a:lnTo>
                  <a:lnTo>
                    <a:pt x="2728" y="1440"/>
                  </a:lnTo>
                  <a:lnTo>
                    <a:pt x="2725" y="1407"/>
                  </a:lnTo>
                  <a:lnTo>
                    <a:pt x="2722" y="1372"/>
                  </a:lnTo>
                  <a:lnTo>
                    <a:pt x="2721" y="1336"/>
                  </a:lnTo>
                  <a:lnTo>
                    <a:pt x="2725" y="1271"/>
                  </a:lnTo>
                  <a:lnTo>
                    <a:pt x="2732" y="1207"/>
                  </a:lnTo>
                  <a:lnTo>
                    <a:pt x="2738" y="1177"/>
                  </a:lnTo>
                  <a:lnTo>
                    <a:pt x="2746" y="1147"/>
                  </a:lnTo>
                  <a:lnTo>
                    <a:pt x="2764" y="1089"/>
                  </a:lnTo>
                  <a:lnTo>
                    <a:pt x="2775" y="1062"/>
                  </a:lnTo>
                  <a:lnTo>
                    <a:pt x="2787" y="1035"/>
                  </a:lnTo>
                  <a:lnTo>
                    <a:pt x="2815" y="983"/>
                  </a:lnTo>
                  <a:lnTo>
                    <a:pt x="2847" y="936"/>
                  </a:lnTo>
                  <a:lnTo>
                    <a:pt x="2865" y="913"/>
                  </a:lnTo>
                  <a:lnTo>
                    <a:pt x="2884" y="892"/>
                  </a:lnTo>
                  <a:lnTo>
                    <a:pt x="2925" y="852"/>
                  </a:lnTo>
                  <a:lnTo>
                    <a:pt x="2969" y="817"/>
                  </a:lnTo>
                  <a:lnTo>
                    <a:pt x="3018" y="786"/>
                  </a:lnTo>
                  <a:lnTo>
                    <a:pt x="3070" y="761"/>
                  </a:lnTo>
                  <a:lnTo>
                    <a:pt x="3098" y="750"/>
                  </a:lnTo>
                  <a:lnTo>
                    <a:pt x="3126" y="741"/>
                  </a:lnTo>
                  <a:lnTo>
                    <a:pt x="3155" y="732"/>
                  </a:lnTo>
                  <a:lnTo>
                    <a:pt x="3185" y="725"/>
                  </a:lnTo>
                  <a:lnTo>
                    <a:pt x="3216" y="721"/>
                  </a:lnTo>
                  <a:lnTo>
                    <a:pt x="3247" y="716"/>
                  </a:lnTo>
                  <a:lnTo>
                    <a:pt x="3311" y="713"/>
                  </a:lnTo>
                  <a:lnTo>
                    <a:pt x="3379" y="716"/>
                  </a:lnTo>
                  <a:lnTo>
                    <a:pt x="3411" y="720"/>
                  </a:lnTo>
                  <a:lnTo>
                    <a:pt x="3443" y="725"/>
                  </a:lnTo>
                  <a:lnTo>
                    <a:pt x="3503" y="740"/>
                  </a:lnTo>
                  <a:lnTo>
                    <a:pt x="3559" y="760"/>
                  </a:lnTo>
                  <a:lnTo>
                    <a:pt x="3586" y="772"/>
                  </a:lnTo>
                  <a:lnTo>
                    <a:pt x="3611" y="785"/>
                  </a:lnTo>
                  <a:lnTo>
                    <a:pt x="3636" y="800"/>
                  </a:lnTo>
                  <a:lnTo>
                    <a:pt x="3660" y="815"/>
                  </a:lnTo>
                  <a:lnTo>
                    <a:pt x="3703" y="851"/>
                  </a:lnTo>
                  <a:lnTo>
                    <a:pt x="3723" y="870"/>
                  </a:lnTo>
                  <a:lnTo>
                    <a:pt x="3743" y="890"/>
                  </a:lnTo>
                  <a:lnTo>
                    <a:pt x="3778" y="934"/>
                  </a:lnTo>
                  <a:lnTo>
                    <a:pt x="3809" y="982"/>
                  </a:lnTo>
                  <a:lnTo>
                    <a:pt x="3835" y="1033"/>
                  </a:lnTo>
                  <a:lnTo>
                    <a:pt x="3857" y="1088"/>
                  </a:lnTo>
                  <a:lnTo>
                    <a:pt x="3867" y="1117"/>
                  </a:lnTo>
                  <a:lnTo>
                    <a:pt x="3874" y="1147"/>
                  </a:lnTo>
                  <a:lnTo>
                    <a:pt x="3887" y="1208"/>
                  </a:lnTo>
                  <a:lnTo>
                    <a:pt x="3894" y="1273"/>
                  </a:lnTo>
                  <a:lnTo>
                    <a:pt x="3897" y="1340"/>
                  </a:lnTo>
                  <a:close/>
                  <a:moveTo>
                    <a:pt x="4810" y="1073"/>
                  </a:moveTo>
                  <a:lnTo>
                    <a:pt x="4769" y="1056"/>
                  </a:lnTo>
                  <a:lnTo>
                    <a:pt x="4732" y="1045"/>
                  </a:lnTo>
                  <a:lnTo>
                    <a:pt x="4694" y="1039"/>
                  </a:lnTo>
                  <a:lnTo>
                    <a:pt x="4653" y="1038"/>
                  </a:lnTo>
                  <a:lnTo>
                    <a:pt x="4619" y="1039"/>
                  </a:lnTo>
                  <a:lnTo>
                    <a:pt x="4586" y="1045"/>
                  </a:lnTo>
                  <a:lnTo>
                    <a:pt x="4555" y="1053"/>
                  </a:lnTo>
                  <a:lnTo>
                    <a:pt x="4526" y="1064"/>
                  </a:lnTo>
                  <a:lnTo>
                    <a:pt x="4501" y="1078"/>
                  </a:lnTo>
                  <a:lnTo>
                    <a:pt x="4476" y="1095"/>
                  </a:lnTo>
                  <a:lnTo>
                    <a:pt x="4453" y="1115"/>
                  </a:lnTo>
                  <a:lnTo>
                    <a:pt x="4433" y="1137"/>
                  </a:lnTo>
                  <a:lnTo>
                    <a:pt x="4415" y="1163"/>
                  </a:lnTo>
                  <a:lnTo>
                    <a:pt x="4400" y="1191"/>
                  </a:lnTo>
                  <a:lnTo>
                    <a:pt x="4386" y="1222"/>
                  </a:lnTo>
                  <a:lnTo>
                    <a:pt x="4375" y="1254"/>
                  </a:lnTo>
                  <a:lnTo>
                    <a:pt x="4366" y="1289"/>
                  </a:lnTo>
                  <a:lnTo>
                    <a:pt x="4361" y="1327"/>
                  </a:lnTo>
                  <a:lnTo>
                    <a:pt x="4356" y="1367"/>
                  </a:lnTo>
                  <a:lnTo>
                    <a:pt x="4355" y="1408"/>
                  </a:lnTo>
                  <a:lnTo>
                    <a:pt x="4355" y="1938"/>
                  </a:lnTo>
                  <a:lnTo>
                    <a:pt x="4017" y="1938"/>
                  </a:lnTo>
                  <a:lnTo>
                    <a:pt x="4017" y="1342"/>
                  </a:lnTo>
                  <a:lnTo>
                    <a:pt x="4017" y="746"/>
                  </a:lnTo>
                  <a:lnTo>
                    <a:pt x="4343" y="746"/>
                  </a:lnTo>
                  <a:lnTo>
                    <a:pt x="4343" y="1017"/>
                  </a:lnTo>
                  <a:lnTo>
                    <a:pt x="4352" y="984"/>
                  </a:lnTo>
                  <a:lnTo>
                    <a:pt x="4363" y="953"/>
                  </a:lnTo>
                  <a:lnTo>
                    <a:pt x="4375" y="923"/>
                  </a:lnTo>
                  <a:lnTo>
                    <a:pt x="4391" y="895"/>
                  </a:lnTo>
                  <a:lnTo>
                    <a:pt x="4408" y="870"/>
                  </a:lnTo>
                  <a:lnTo>
                    <a:pt x="4425" y="846"/>
                  </a:lnTo>
                  <a:lnTo>
                    <a:pt x="4446" y="824"/>
                  </a:lnTo>
                  <a:lnTo>
                    <a:pt x="4468" y="805"/>
                  </a:lnTo>
                  <a:lnTo>
                    <a:pt x="4492" y="787"/>
                  </a:lnTo>
                  <a:lnTo>
                    <a:pt x="4517" y="772"/>
                  </a:lnTo>
                  <a:lnTo>
                    <a:pt x="4544" y="758"/>
                  </a:lnTo>
                  <a:lnTo>
                    <a:pt x="4573" y="748"/>
                  </a:lnTo>
                  <a:lnTo>
                    <a:pt x="4603" y="740"/>
                  </a:lnTo>
                  <a:lnTo>
                    <a:pt x="4635" y="734"/>
                  </a:lnTo>
                  <a:lnTo>
                    <a:pt x="4669" y="730"/>
                  </a:lnTo>
                  <a:lnTo>
                    <a:pt x="4703" y="728"/>
                  </a:lnTo>
                  <a:lnTo>
                    <a:pt x="4753" y="732"/>
                  </a:lnTo>
                  <a:lnTo>
                    <a:pt x="4810" y="741"/>
                  </a:lnTo>
                  <a:lnTo>
                    <a:pt x="4810" y="1073"/>
                  </a:lnTo>
                  <a:close/>
                  <a:moveTo>
                    <a:pt x="5598" y="1938"/>
                  </a:moveTo>
                  <a:lnTo>
                    <a:pt x="5598" y="1670"/>
                  </a:lnTo>
                  <a:lnTo>
                    <a:pt x="5561" y="1678"/>
                  </a:lnTo>
                  <a:lnTo>
                    <a:pt x="5526" y="1683"/>
                  </a:lnTo>
                  <a:lnTo>
                    <a:pt x="5494" y="1685"/>
                  </a:lnTo>
                  <a:lnTo>
                    <a:pt x="5458" y="1686"/>
                  </a:lnTo>
                  <a:lnTo>
                    <a:pt x="5432" y="1685"/>
                  </a:lnTo>
                  <a:lnTo>
                    <a:pt x="5406" y="1683"/>
                  </a:lnTo>
                  <a:lnTo>
                    <a:pt x="5384" y="1679"/>
                  </a:lnTo>
                  <a:lnTo>
                    <a:pt x="5364" y="1674"/>
                  </a:lnTo>
                  <a:lnTo>
                    <a:pt x="5345" y="1667"/>
                  </a:lnTo>
                  <a:lnTo>
                    <a:pt x="5328" y="1658"/>
                  </a:lnTo>
                  <a:lnTo>
                    <a:pt x="5314" y="1648"/>
                  </a:lnTo>
                  <a:lnTo>
                    <a:pt x="5302" y="1636"/>
                  </a:lnTo>
                  <a:lnTo>
                    <a:pt x="5292" y="1622"/>
                  </a:lnTo>
                  <a:lnTo>
                    <a:pt x="5282" y="1605"/>
                  </a:lnTo>
                  <a:lnTo>
                    <a:pt x="5275" y="1587"/>
                  </a:lnTo>
                  <a:lnTo>
                    <a:pt x="5268" y="1566"/>
                  </a:lnTo>
                  <a:lnTo>
                    <a:pt x="5262" y="1517"/>
                  </a:lnTo>
                  <a:lnTo>
                    <a:pt x="5258" y="1459"/>
                  </a:lnTo>
                  <a:lnTo>
                    <a:pt x="5258" y="1026"/>
                  </a:lnTo>
                  <a:lnTo>
                    <a:pt x="5583" y="1026"/>
                  </a:lnTo>
                  <a:lnTo>
                    <a:pt x="5583" y="755"/>
                  </a:lnTo>
                  <a:lnTo>
                    <a:pt x="5258" y="755"/>
                  </a:lnTo>
                  <a:lnTo>
                    <a:pt x="5258" y="365"/>
                  </a:lnTo>
                  <a:lnTo>
                    <a:pt x="4920" y="556"/>
                  </a:lnTo>
                  <a:lnTo>
                    <a:pt x="4920" y="1037"/>
                  </a:lnTo>
                  <a:lnTo>
                    <a:pt x="4920" y="1519"/>
                  </a:lnTo>
                  <a:lnTo>
                    <a:pt x="4921" y="1575"/>
                  </a:lnTo>
                  <a:lnTo>
                    <a:pt x="4926" y="1627"/>
                  </a:lnTo>
                  <a:lnTo>
                    <a:pt x="4935" y="1674"/>
                  </a:lnTo>
                  <a:lnTo>
                    <a:pt x="4946" y="1718"/>
                  </a:lnTo>
                  <a:lnTo>
                    <a:pt x="4962" y="1758"/>
                  </a:lnTo>
                  <a:lnTo>
                    <a:pt x="4981" y="1794"/>
                  </a:lnTo>
                  <a:lnTo>
                    <a:pt x="5003" y="1826"/>
                  </a:lnTo>
                  <a:lnTo>
                    <a:pt x="5030" y="1855"/>
                  </a:lnTo>
                  <a:lnTo>
                    <a:pt x="5044" y="1868"/>
                  </a:lnTo>
                  <a:lnTo>
                    <a:pt x="5060" y="1880"/>
                  </a:lnTo>
                  <a:lnTo>
                    <a:pt x="5093" y="1901"/>
                  </a:lnTo>
                  <a:lnTo>
                    <a:pt x="5130" y="1920"/>
                  </a:lnTo>
                  <a:lnTo>
                    <a:pt x="5171" y="1935"/>
                  </a:lnTo>
                  <a:lnTo>
                    <a:pt x="5216" y="1946"/>
                  </a:lnTo>
                  <a:lnTo>
                    <a:pt x="5265" y="1954"/>
                  </a:lnTo>
                  <a:lnTo>
                    <a:pt x="5317" y="1959"/>
                  </a:lnTo>
                  <a:lnTo>
                    <a:pt x="5374" y="1960"/>
                  </a:lnTo>
                  <a:lnTo>
                    <a:pt x="5431" y="1959"/>
                  </a:lnTo>
                  <a:lnTo>
                    <a:pt x="5484" y="1956"/>
                  </a:lnTo>
                  <a:lnTo>
                    <a:pt x="5538" y="1949"/>
                  </a:lnTo>
                  <a:lnTo>
                    <a:pt x="5598" y="1938"/>
                  </a:lnTo>
                  <a:close/>
                  <a:moveTo>
                    <a:pt x="6796" y="1358"/>
                  </a:moveTo>
                  <a:lnTo>
                    <a:pt x="6796" y="746"/>
                  </a:lnTo>
                  <a:lnTo>
                    <a:pt x="6457" y="746"/>
                  </a:lnTo>
                  <a:lnTo>
                    <a:pt x="6457" y="1358"/>
                  </a:lnTo>
                  <a:lnTo>
                    <a:pt x="6455" y="1440"/>
                  </a:lnTo>
                  <a:lnTo>
                    <a:pt x="6451" y="1476"/>
                  </a:lnTo>
                  <a:lnTo>
                    <a:pt x="6447" y="1508"/>
                  </a:lnTo>
                  <a:lnTo>
                    <a:pt x="6441" y="1538"/>
                  </a:lnTo>
                  <a:lnTo>
                    <a:pt x="6435" y="1564"/>
                  </a:lnTo>
                  <a:lnTo>
                    <a:pt x="6426" y="1587"/>
                  </a:lnTo>
                  <a:lnTo>
                    <a:pt x="6415" y="1607"/>
                  </a:lnTo>
                  <a:lnTo>
                    <a:pt x="6402" y="1624"/>
                  </a:lnTo>
                  <a:lnTo>
                    <a:pt x="6388" y="1639"/>
                  </a:lnTo>
                  <a:lnTo>
                    <a:pt x="6373" y="1650"/>
                  </a:lnTo>
                  <a:lnTo>
                    <a:pt x="6355" y="1660"/>
                  </a:lnTo>
                  <a:lnTo>
                    <a:pt x="6334" y="1668"/>
                  </a:lnTo>
                  <a:lnTo>
                    <a:pt x="6311" y="1673"/>
                  </a:lnTo>
                  <a:lnTo>
                    <a:pt x="6287" y="1676"/>
                  </a:lnTo>
                  <a:lnTo>
                    <a:pt x="6259" y="1677"/>
                  </a:lnTo>
                  <a:lnTo>
                    <a:pt x="6231" y="1676"/>
                  </a:lnTo>
                  <a:lnTo>
                    <a:pt x="6206" y="1673"/>
                  </a:lnTo>
                  <a:lnTo>
                    <a:pt x="6181" y="1668"/>
                  </a:lnTo>
                  <a:lnTo>
                    <a:pt x="6160" y="1660"/>
                  </a:lnTo>
                  <a:lnTo>
                    <a:pt x="6141" y="1652"/>
                  </a:lnTo>
                  <a:lnTo>
                    <a:pt x="6124" y="1640"/>
                  </a:lnTo>
                  <a:lnTo>
                    <a:pt x="6109" y="1626"/>
                  </a:lnTo>
                  <a:lnTo>
                    <a:pt x="6096" y="1609"/>
                  </a:lnTo>
                  <a:lnTo>
                    <a:pt x="6085" y="1590"/>
                  </a:lnTo>
                  <a:lnTo>
                    <a:pt x="6075" y="1569"/>
                  </a:lnTo>
                  <a:lnTo>
                    <a:pt x="6067" y="1545"/>
                  </a:lnTo>
                  <a:lnTo>
                    <a:pt x="6060" y="1517"/>
                  </a:lnTo>
                  <a:lnTo>
                    <a:pt x="6056" y="1487"/>
                  </a:lnTo>
                  <a:lnTo>
                    <a:pt x="6053" y="1454"/>
                  </a:lnTo>
                  <a:lnTo>
                    <a:pt x="6050" y="1417"/>
                  </a:lnTo>
                  <a:lnTo>
                    <a:pt x="6049" y="1378"/>
                  </a:lnTo>
                  <a:lnTo>
                    <a:pt x="6049" y="746"/>
                  </a:lnTo>
                  <a:lnTo>
                    <a:pt x="5710" y="746"/>
                  </a:lnTo>
                  <a:lnTo>
                    <a:pt x="5710" y="1373"/>
                  </a:lnTo>
                  <a:lnTo>
                    <a:pt x="5713" y="1465"/>
                  </a:lnTo>
                  <a:lnTo>
                    <a:pt x="5715" y="1505"/>
                  </a:lnTo>
                  <a:lnTo>
                    <a:pt x="5718" y="1544"/>
                  </a:lnTo>
                  <a:lnTo>
                    <a:pt x="5729" y="1612"/>
                  </a:lnTo>
                  <a:lnTo>
                    <a:pt x="5737" y="1643"/>
                  </a:lnTo>
                  <a:lnTo>
                    <a:pt x="5746" y="1671"/>
                  </a:lnTo>
                  <a:lnTo>
                    <a:pt x="5756" y="1698"/>
                  </a:lnTo>
                  <a:lnTo>
                    <a:pt x="5768" y="1723"/>
                  </a:lnTo>
                  <a:lnTo>
                    <a:pt x="5780" y="1747"/>
                  </a:lnTo>
                  <a:lnTo>
                    <a:pt x="5796" y="1769"/>
                  </a:lnTo>
                  <a:lnTo>
                    <a:pt x="5812" y="1790"/>
                  </a:lnTo>
                  <a:lnTo>
                    <a:pt x="5830" y="1810"/>
                  </a:lnTo>
                  <a:lnTo>
                    <a:pt x="5849" y="1829"/>
                  </a:lnTo>
                  <a:lnTo>
                    <a:pt x="5872" y="1848"/>
                  </a:lnTo>
                  <a:lnTo>
                    <a:pt x="5889" y="1863"/>
                  </a:lnTo>
                  <a:lnTo>
                    <a:pt x="5908" y="1876"/>
                  </a:lnTo>
                  <a:lnTo>
                    <a:pt x="5928" y="1888"/>
                  </a:lnTo>
                  <a:lnTo>
                    <a:pt x="5949" y="1899"/>
                  </a:lnTo>
                  <a:lnTo>
                    <a:pt x="5972" y="1909"/>
                  </a:lnTo>
                  <a:lnTo>
                    <a:pt x="5994" y="1919"/>
                  </a:lnTo>
                  <a:lnTo>
                    <a:pt x="6040" y="1936"/>
                  </a:lnTo>
                  <a:lnTo>
                    <a:pt x="6091" y="1949"/>
                  </a:lnTo>
                  <a:lnTo>
                    <a:pt x="6144" y="1958"/>
                  </a:lnTo>
                  <a:lnTo>
                    <a:pt x="6199" y="1964"/>
                  </a:lnTo>
                  <a:lnTo>
                    <a:pt x="6257" y="1966"/>
                  </a:lnTo>
                  <a:lnTo>
                    <a:pt x="6325" y="1963"/>
                  </a:lnTo>
                  <a:lnTo>
                    <a:pt x="6388" y="1955"/>
                  </a:lnTo>
                  <a:lnTo>
                    <a:pt x="6419" y="1948"/>
                  </a:lnTo>
                  <a:lnTo>
                    <a:pt x="6448" y="1940"/>
                  </a:lnTo>
                  <a:lnTo>
                    <a:pt x="6505" y="1921"/>
                  </a:lnTo>
                  <a:lnTo>
                    <a:pt x="6531" y="1910"/>
                  </a:lnTo>
                  <a:lnTo>
                    <a:pt x="6557" y="1898"/>
                  </a:lnTo>
                  <a:lnTo>
                    <a:pt x="6605" y="1869"/>
                  </a:lnTo>
                  <a:lnTo>
                    <a:pt x="6626" y="1853"/>
                  </a:lnTo>
                  <a:lnTo>
                    <a:pt x="6647" y="1835"/>
                  </a:lnTo>
                  <a:lnTo>
                    <a:pt x="6667" y="1816"/>
                  </a:lnTo>
                  <a:lnTo>
                    <a:pt x="6685" y="1796"/>
                  </a:lnTo>
                  <a:lnTo>
                    <a:pt x="6699" y="1779"/>
                  </a:lnTo>
                  <a:lnTo>
                    <a:pt x="6712" y="1760"/>
                  </a:lnTo>
                  <a:lnTo>
                    <a:pt x="6735" y="1721"/>
                  </a:lnTo>
                  <a:lnTo>
                    <a:pt x="6755" y="1678"/>
                  </a:lnTo>
                  <a:lnTo>
                    <a:pt x="6769" y="1628"/>
                  </a:lnTo>
                  <a:lnTo>
                    <a:pt x="6781" y="1573"/>
                  </a:lnTo>
                  <a:lnTo>
                    <a:pt x="6786" y="1542"/>
                  </a:lnTo>
                  <a:lnTo>
                    <a:pt x="6790" y="1509"/>
                  </a:lnTo>
                  <a:lnTo>
                    <a:pt x="6795" y="1438"/>
                  </a:lnTo>
                  <a:lnTo>
                    <a:pt x="6796" y="1358"/>
                  </a:lnTo>
                  <a:close/>
                  <a:moveTo>
                    <a:pt x="8720" y="1938"/>
                  </a:moveTo>
                  <a:lnTo>
                    <a:pt x="8720" y="1254"/>
                  </a:lnTo>
                  <a:lnTo>
                    <a:pt x="8718" y="1185"/>
                  </a:lnTo>
                  <a:lnTo>
                    <a:pt x="8716" y="1124"/>
                  </a:lnTo>
                  <a:lnTo>
                    <a:pt x="8712" y="1072"/>
                  </a:lnTo>
                  <a:lnTo>
                    <a:pt x="8706" y="1025"/>
                  </a:lnTo>
                  <a:lnTo>
                    <a:pt x="8698" y="985"/>
                  </a:lnTo>
                  <a:lnTo>
                    <a:pt x="8688" y="950"/>
                  </a:lnTo>
                  <a:lnTo>
                    <a:pt x="8676" y="918"/>
                  </a:lnTo>
                  <a:lnTo>
                    <a:pt x="8662" y="891"/>
                  </a:lnTo>
                  <a:lnTo>
                    <a:pt x="8650" y="871"/>
                  </a:lnTo>
                  <a:lnTo>
                    <a:pt x="8636" y="853"/>
                  </a:lnTo>
                  <a:lnTo>
                    <a:pt x="8622" y="836"/>
                  </a:lnTo>
                  <a:lnTo>
                    <a:pt x="8605" y="820"/>
                  </a:lnTo>
                  <a:lnTo>
                    <a:pt x="8589" y="805"/>
                  </a:lnTo>
                  <a:lnTo>
                    <a:pt x="8570" y="791"/>
                  </a:lnTo>
                  <a:lnTo>
                    <a:pt x="8529" y="766"/>
                  </a:lnTo>
                  <a:lnTo>
                    <a:pt x="8506" y="756"/>
                  </a:lnTo>
                  <a:lnTo>
                    <a:pt x="8484" y="747"/>
                  </a:lnTo>
                  <a:lnTo>
                    <a:pt x="8436" y="733"/>
                  </a:lnTo>
                  <a:lnTo>
                    <a:pt x="8385" y="724"/>
                  </a:lnTo>
                  <a:lnTo>
                    <a:pt x="8332" y="721"/>
                  </a:lnTo>
                  <a:lnTo>
                    <a:pt x="8300" y="722"/>
                  </a:lnTo>
                  <a:lnTo>
                    <a:pt x="8269" y="725"/>
                  </a:lnTo>
                  <a:lnTo>
                    <a:pt x="8239" y="731"/>
                  </a:lnTo>
                  <a:lnTo>
                    <a:pt x="8210" y="737"/>
                  </a:lnTo>
                  <a:lnTo>
                    <a:pt x="8182" y="747"/>
                  </a:lnTo>
                  <a:lnTo>
                    <a:pt x="8155" y="758"/>
                  </a:lnTo>
                  <a:lnTo>
                    <a:pt x="8130" y="772"/>
                  </a:lnTo>
                  <a:lnTo>
                    <a:pt x="8106" y="788"/>
                  </a:lnTo>
                  <a:lnTo>
                    <a:pt x="8083" y="806"/>
                  </a:lnTo>
                  <a:lnTo>
                    <a:pt x="8061" y="827"/>
                  </a:lnTo>
                  <a:lnTo>
                    <a:pt x="8040" y="850"/>
                  </a:lnTo>
                  <a:lnTo>
                    <a:pt x="8021" y="874"/>
                  </a:lnTo>
                  <a:lnTo>
                    <a:pt x="8002" y="902"/>
                  </a:lnTo>
                  <a:lnTo>
                    <a:pt x="7984" y="931"/>
                  </a:lnTo>
                  <a:lnTo>
                    <a:pt x="7968" y="963"/>
                  </a:lnTo>
                  <a:lnTo>
                    <a:pt x="7951" y="997"/>
                  </a:lnTo>
                  <a:lnTo>
                    <a:pt x="7942" y="964"/>
                  </a:lnTo>
                  <a:lnTo>
                    <a:pt x="7932" y="933"/>
                  </a:lnTo>
                  <a:lnTo>
                    <a:pt x="7908" y="876"/>
                  </a:lnTo>
                  <a:lnTo>
                    <a:pt x="7893" y="852"/>
                  </a:lnTo>
                  <a:lnTo>
                    <a:pt x="7885" y="840"/>
                  </a:lnTo>
                  <a:lnTo>
                    <a:pt x="7877" y="828"/>
                  </a:lnTo>
                  <a:lnTo>
                    <a:pt x="7869" y="818"/>
                  </a:lnTo>
                  <a:lnTo>
                    <a:pt x="7859" y="808"/>
                  </a:lnTo>
                  <a:lnTo>
                    <a:pt x="7840" y="791"/>
                  </a:lnTo>
                  <a:lnTo>
                    <a:pt x="7820" y="774"/>
                  </a:lnTo>
                  <a:lnTo>
                    <a:pt x="7798" y="760"/>
                  </a:lnTo>
                  <a:lnTo>
                    <a:pt x="7773" y="748"/>
                  </a:lnTo>
                  <a:lnTo>
                    <a:pt x="7748" y="738"/>
                  </a:lnTo>
                  <a:lnTo>
                    <a:pt x="7721" y="731"/>
                  </a:lnTo>
                  <a:lnTo>
                    <a:pt x="7692" y="725"/>
                  </a:lnTo>
                  <a:lnTo>
                    <a:pt x="7662" y="722"/>
                  </a:lnTo>
                  <a:lnTo>
                    <a:pt x="7630" y="721"/>
                  </a:lnTo>
                  <a:lnTo>
                    <a:pt x="7598" y="722"/>
                  </a:lnTo>
                  <a:lnTo>
                    <a:pt x="7567" y="725"/>
                  </a:lnTo>
                  <a:lnTo>
                    <a:pt x="7537" y="730"/>
                  </a:lnTo>
                  <a:lnTo>
                    <a:pt x="7509" y="737"/>
                  </a:lnTo>
                  <a:lnTo>
                    <a:pt x="7481" y="746"/>
                  </a:lnTo>
                  <a:lnTo>
                    <a:pt x="7456" y="757"/>
                  </a:lnTo>
                  <a:lnTo>
                    <a:pt x="7431" y="771"/>
                  </a:lnTo>
                  <a:lnTo>
                    <a:pt x="7408" y="786"/>
                  </a:lnTo>
                  <a:lnTo>
                    <a:pt x="7386" y="804"/>
                  </a:lnTo>
                  <a:lnTo>
                    <a:pt x="7364" y="824"/>
                  </a:lnTo>
                  <a:lnTo>
                    <a:pt x="7344" y="846"/>
                  </a:lnTo>
                  <a:lnTo>
                    <a:pt x="7324" y="871"/>
                  </a:lnTo>
                  <a:lnTo>
                    <a:pt x="7307" y="896"/>
                  </a:lnTo>
                  <a:lnTo>
                    <a:pt x="7288" y="925"/>
                  </a:lnTo>
                  <a:lnTo>
                    <a:pt x="7270" y="956"/>
                  </a:lnTo>
                  <a:lnTo>
                    <a:pt x="7253" y="990"/>
                  </a:lnTo>
                  <a:lnTo>
                    <a:pt x="7253" y="746"/>
                  </a:lnTo>
                  <a:lnTo>
                    <a:pt x="6927" y="746"/>
                  </a:lnTo>
                  <a:lnTo>
                    <a:pt x="6927" y="1342"/>
                  </a:lnTo>
                  <a:lnTo>
                    <a:pt x="6927" y="1938"/>
                  </a:lnTo>
                  <a:lnTo>
                    <a:pt x="7266" y="1938"/>
                  </a:lnTo>
                  <a:lnTo>
                    <a:pt x="7266" y="1384"/>
                  </a:lnTo>
                  <a:lnTo>
                    <a:pt x="7267" y="1329"/>
                  </a:lnTo>
                  <a:lnTo>
                    <a:pt x="7270" y="1283"/>
                  </a:lnTo>
                  <a:lnTo>
                    <a:pt x="7276" y="1242"/>
                  </a:lnTo>
                  <a:lnTo>
                    <a:pt x="7283" y="1207"/>
                  </a:lnTo>
                  <a:lnTo>
                    <a:pt x="7290" y="1187"/>
                  </a:lnTo>
                  <a:lnTo>
                    <a:pt x="7297" y="1169"/>
                  </a:lnTo>
                  <a:lnTo>
                    <a:pt x="7314" y="1135"/>
                  </a:lnTo>
                  <a:lnTo>
                    <a:pt x="7323" y="1118"/>
                  </a:lnTo>
                  <a:lnTo>
                    <a:pt x="7334" y="1104"/>
                  </a:lnTo>
                  <a:lnTo>
                    <a:pt x="7359" y="1078"/>
                  </a:lnTo>
                  <a:lnTo>
                    <a:pt x="7386" y="1058"/>
                  </a:lnTo>
                  <a:lnTo>
                    <a:pt x="7416" y="1043"/>
                  </a:lnTo>
                  <a:lnTo>
                    <a:pt x="7431" y="1037"/>
                  </a:lnTo>
                  <a:lnTo>
                    <a:pt x="7447" y="1034"/>
                  </a:lnTo>
                  <a:lnTo>
                    <a:pt x="7481" y="1031"/>
                  </a:lnTo>
                  <a:lnTo>
                    <a:pt x="7506" y="1032"/>
                  </a:lnTo>
                  <a:lnTo>
                    <a:pt x="7530" y="1037"/>
                  </a:lnTo>
                  <a:lnTo>
                    <a:pt x="7551" y="1045"/>
                  </a:lnTo>
                  <a:lnTo>
                    <a:pt x="7570" y="1056"/>
                  </a:lnTo>
                  <a:lnTo>
                    <a:pt x="7588" y="1069"/>
                  </a:lnTo>
                  <a:lnTo>
                    <a:pt x="7602" y="1086"/>
                  </a:lnTo>
                  <a:lnTo>
                    <a:pt x="7615" y="1106"/>
                  </a:lnTo>
                  <a:lnTo>
                    <a:pt x="7621" y="1116"/>
                  </a:lnTo>
                  <a:lnTo>
                    <a:pt x="7625" y="1127"/>
                  </a:lnTo>
                  <a:lnTo>
                    <a:pt x="7638" y="1165"/>
                  </a:lnTo>
                  <a:lnTo>
                    <a:pt x="7645" y="1211"/>
                  </a:lnTo>
                  <a:lnTo>
                    <a:pt x="7650" y="1268"/>
                  </a:lnTo>
                  <a:lnTo>
                    <a:pt x="7651" y="1342"/>
                  </a:lnTo>
                  <a:lnTo>
                    <a:pt x="7651" y="1938"/>
                  </a:lnTo>
                  <a:lnTo>
                    <a:pt x="7993" y="1938"/>
                  </a:lnTo>
                  <a:lnTo>
                    <a:pt x="7993" y="1364"/>
                  </a:lnTo>
                  <a:lnTo>
                    <a:pt x="7993" y="1325"/>
                  </a:lnTo>
                  <a:lnTo>
                    <a:pt x="7996" y="1287"/>
                  </a:lnTo>
                  <a:lnTo>
                    <a:pt x="8000" y="1253"/>
                  </a:lnTo>
                  <a:lnTo>
                    <a:pt x="8006" y="1221"/>
                  </a:lnTo>
                  <a:lnTo>
                    <a:pt x="8014" y="1191"/>
                  </a:lnTo>
                  <a:lnTo>
                    <a:pt x="8023" y="1164"/>
                  </a:lnTo>
                  <a:lnTo>
                    <a:pt x="8034" y="1138"/>
                  </a:lnTo>
                  <a:lnTo>
                    <a:pt x="8046" y="1116"/>
                  </a:lnTo>
                  <a:lnTo>
                    <a:pt x="8061" y="1096"/>
                  </a:lnTo>
                  <a:lnTo>
                    <a:pt x="8078" y="1079"/>
                  </a:lnTo>
                  <a:lnTo>
                    <a:pt x="8095" y="1064"/>
                  </a:lnTo>
                  <a:lnTo>
                    <a:pt x="8114" y="1052"/>
                  </a:lnTo>
                  <a:lnTo>
                    <a:pt x="8135" y="1043"/>
                  </a:lnTo>
                  <a:lnTo>
                    <a:pt x="8158" y="1036"/>
                  </a:lnTo>
                  <a:lnTo>
                    <a:pt x="8182" y="1032"/>
                  </a:lnTo>
                  <a:lnTo>
                    <a:pt x="8208" y="1031"/>
                  </a:lnTo>
                  <a:lnTo>
                    <a:pt x="8238" y="1032"/>
                  </a:lnTo>
                  <a:lnTo>
                    <a:pt x="8264" y="1037"/>
                  </a:lnTo>
                  <a:lnTo>
                    <a:pt x="8289" y="1046"/>
                  </a:lnTo>
                  <a:lnTo>
                    <a:pt x="8310" y="1058"/>
                  </a:lnTo>
                  <a:lnTo>
                    <a:pt x="8320" y="1066"/>
                  </a:lnTo>
                  <a:lnTo>
                    <a:pt x="8329" y="1075"/>
                  </a:lnTo>
                  <a:lnTo>
                    <a:pt x="8336" y="1084"/>
                  </a:lnTo>
                  <a:lnTo>
                    <a:pt x="8343" y="1095"/>
                  </a:lnTo>
                  <a:lnTo>
                    <a:pt x="8356" y="1118"/>
                  </a:lnTo>
                  <a:lnTo>
                    <a:pt x="8365" y="1146"/>
                  </a:lnTo>
                  <a:lnTo>
                    <a:pt x="8370" y="1178"/>
                  </a:lnTo>
                  <a:lnTo>
                    <a:pt x="8374" y="1219"/>
                  </a:lnTo>
                  <a:lnTo>
                    <a:pt x="8376" y="1268"/>
                  </a:lnTo>
                  <a:lnTo>
                    <a:pt x="8377" y="1324"/>
                  </a:lnTo>
                  <a:lnTo>
                    <a:pt x="8377" y="1938"/>
                  </a:lnTo>
                  <a:lnTo>
                    <a:pt x="8720" y="1938"/>
                  </a:lnTo>
                  <a:close/>
                  <a:moveTo>
                    <a:pt x="2622" y="369"/>
                  </a:moveTo>
                  <a:lnTo>
                    <a:pt x="2584" y="372"/>
                  </a:lnTo>
                  <a:lnTo>
                    <a:pt x="2566" y="376"/>
                  </a:lnTo>
                  <a:lnTo>
                    <a:pt x="2549" y="382"/>
                  </a:lnTo>
                  <a:lnTo>
                    <a:pt x="2534" y="390"/>
                  </a:lnTo>
                  <a:lnTo>
                    <a:pt x="2519" y="399"/>
                  </a:lnTo>
                  <a:lnTo>
                    <a:pt x="2494" y="421"/>
                  </a:lnTo>
                  <a:lnTo>
                    <a:pt x="2483" y="434"/>
                  </a:lnTo>
                  <a:lnTo>
                    <a:pt x="2473" y="450"/>
                  </a:lnTo>
                  <a:lnTo>
                    <a:pt x="2465" y="465"/>
                  </a:lnTo>
                  <a:lnTo>
                    <a:pt x="2458" y="483"/>
                  </a:lnTo>
                  <a:lnTo>
                    <a:pt x="2453" y="502"/>
                  </a:lnTo>
                  <a:lnTo>
                    <a:pt x="2449" y="521"/>
                  </a:lnTo>
                  <a:lnTo>
                    <a:pt x="2446" y="542"/>
                  </a:lnTo>
                  <a:lnTo>
                    <a:pt x="2446" y="564"/>
                  </a:lnTo>
                  <a:lnTo>
                    <a:pt x="2446" y="757"/>
                  </a:lnTo>
                  <a:lnTo>
                    <a:pt x="2692" y="757"/>
                  </a:lnTo>
                  <a:lnTo>
                    <a:pt x="2692" y="1027"/>
                  </a:lnTo>
                  <a:lnTo>
                    <a:pt x="2446" y="1027"/>
                  </a:lnTo>
                  <a:lnTo>
                    <a:pt x="2446" y="1483"/>
                  </a:lnTo>
                  <a:lnTo>
                    <a:pt x="2446" y="1938"/>
                  </a:lnTo>
                  <a:lnTo>
                    <a:pt x="2107" y="1938"/>
                  </a:lnTo>
                  <a:lnTo>
                    <a:pt x="2107" y="1483"/>
                  </a:lnTo>
                  <a:lnTo>
                    <a:pt x="2107" y="1027"/>
                  </a:lnTo>
                  <a:lnTo>
                    <a:pt x="1950" y="1027"/>
                  </a:lnTo>
                  <a:lnTo>
                    <a:pt x="1950" y="757"/>
                  </a:lnTo>
                  <a:lnTo>
                    <a:pt x="2107" y="757"/>
                  </a:lnTo>
                  <a:lnTo>
                    <a:pt x="2107" y="595"/>
                  </a:lnTo>
                  <a:lnTo>
                    <a:pt x="2110" y="501"/>
                  </a:lnTo>
                  <a:lnTo>
                    <a:pt x="2115" y="454"/>
                  </a:lnTo>
                  <a:lnTo>
                    <a:pt x="2122" y="407"/>
                  </a:lnTo>
                  <a:lnTo>
                    <a:pt x="2126" y="385"/>
                  </a:lnTo>
                  <a:lnTo>
                    <a:pt x="2130" y="363"/>
                  </a:lnTo>
                  <a:lnTo>
                    <a:pt x="2144" y="320"/>
                  </a:lnTo>
                  <a:lnTo>
                    <a:pt x="2152" y="299"/>
                  </a:lnTo>
                  <a:lnTo>
                    <a:pt x="2160" y="278"/>
                  </a:lnTo>
                  <a:lnTo>
                    <a:pt x="2182" y="240"/>
                  </a:lnTo>
                  <a:lnTo>
                    <a:pt x="2207" y="203"/>
                  </a:lnTo>
                  <a:lnTo>
                    <a:pt x="2222" y="186"/>
                  </a:lnTo>
                  <a:lnTo>
                    <a:pt x="2238" y="171"/>
                  </a:lnTo>
                  <a:lnTo>
                    <a:pt x="2255" y="156"/>
                  </a:lnTo>
                  <a:lnTo>
                    <a:pt x="2274" y="142"/>
                  </a:lnTo>
                  <a:lnTo>
                    <a:pt x="2316" y="118"/>
                  </a:lnTo>
                  <a:lnTo>
                    <a:pt x="2339" y="108"/>
                  </a:lnTo>
                  <a:lnTo>
                    <a:pt x="2365" y="99"/>
                  </a:lnTo>
                  <a:lnTo>
                    <a:pt x="2391" y="90"/>
                  </a:lnTo>
                  <a:lnTo>
                    <a:pt x="2419" y="83"/>
                  </a:lnTo>
                  <a:lnTo>
                    <a:pt x="2449" y="79"/>
                  </a:lnTo>
                  <a:lnTo>
                    <a:pt x="2481" y="74"/>
                  </a:lnTo>
                  <a:lnTo>
                    <a:pt x="2516" y="72"/>
                  </a:lnTo>
                  <a:lnTo>
                    <a:pt x="2551" y="71"/>
                  </a:lnTo>
                  <a:lnTo>
                    <a:pt x="2615" y="73"/>
                  </a:lnTo>
                  <a:lnTo>
                    <a:pt x="2668" y="79"/>
                  </a:lnTo>
                  <a:lnTo>
                    <a:pt x="2721" y="88"/>
                  </a:lnTo>
                  <a:lnTo>
                    <a:pt x="2782" y="100"/>
                  </a:lnTo>
                  <a:lnTo>
                    <a:pt x="2782" y="390"/>
                  </a:lnTo>
                  <a:lnTo>
                    <a:pt x="2717" y="375"/>
                  </a:lnTo>
                  <a:lnTo>
                    <a:pt x="2676" y="371"/>
                  </a:lnTo>
                  <a:lnTo>
                    <a:pt x="2622" y="369"/>
                  </a:lnTo>
                  <a:close/>
                  <a:moveTo>
                    <a:pt x="1447" y="1554"/>
                  </a:moveTo>
                  <a:lnTo>
                    <a:pt x="1649" y="1903"/>
                  </a:lnTo>
                  <a:lnTo>
                    <a:pt x="1599" y="1930"/>
                  </a:lnTo>
                  <a:lnTo>
                    <a:pt x="1549" y="1955"/>
                  </a:lnTo>
                  <a:lnTo>
                    <a:pt x="1498" y="1976"/>
                  </a:lnTo>
                  <a:lnTo>
                    <a:pt x="1446" y="1995"/>
                  </a:lnTo>
                  <a:lnTo>
                    <a:pt x="1394" y="2010"/>
                  </a:lnTo>
                  <a:lnTo>
                    <a:pt x="1342" y="2024"/>
                  </a:lnTo>
                  <a:lnTo>
                    <a:pt x="1288" y="2035"/>
                  </a:lnTo>
                  <a:lnTo>
                    <a:pt x="1235" y="2042"/>
                  </a:lnTo>
                  <a:lnTo>
                    <a:pt x="1183" y="2047"/>
                  </a:lnTo>
                  <a:lnTo>
                    <a:pt x="1130" y="2050"/>
                  </a:lnTo>
                  <a:lnTo>
                    <a:pt x="1076" y="2050"/>
                  </a:lnTo>
                  <a:lnTo>
                    <a:pt x="1023" y="2048"/>
                  </a:lnTo>
                  <a:lnTo>
                    <a:pt x="971" y="2042"/>
                  </a:lnTo>
                  <a:lnTo>
                    <a:pt x="919" y="2036"/>
                  </a:lnTo>
                  <a:lnTo>
                    <a:pt x="866" y="2026"/>
                  </a:lnTo>
                  <a:lnTo>
                    <a:pt x="815" y="2012"/>
                  </a:lnTo>
                  <a:lnTo>
                    <a:pt x="764" y="1998"/>
                  </a:lnTo>
                  <a:lnTo>
                    <a:pt x="714" y="1981"/>
                  </a:lnTo>
                  <a:lnTo>
                    <a:pt x="690" y="1971"/>
                  </a:lnTo>
                  <a:lnTo>
                    <a:pt x="665" y="1961"/>
                  </a:lnTo>
                  <a:lnTo>
                    <a:pt x="618" y="1939"/>
                  </a:lnTo>
                  <a:lnTo>
                    <a:pt x="570" y="1915"/>
                  </a:lnTo>
                  <a:lnTo>
                    <a:pt x="524" y="1888"/>
                  </a:lnTo>
                  <a:lnTo>
                    <a:pt x="480" y="1859"/>
                  </a:lnTo>
                  <a:lnTo>
                    <a:pt x="436" y="1828"/>
                  </a:lnTo>
                  <a:lnTo>
                    <a:pt x="394" y="1795"/>
                  </a:lnTo>
                  <a:lnTo>
                    <a:pt x="353" y="1759"/>
                  </a:lnTo>
                  <a:lnTo>
                    <a:pt x="314" y="1721"/>
                  </a:lnTo>
                  <a:lnTo>
                    <a:pt x="278" y="1681"/>
                  </a:lnTo>
                  <a:lnTo>
                    <a:pt x="242" y="1639"/>
                  </a:lnTo>
                  <a:lnTo>
                    <a:pt x="209" y="1596"/>
                  </a:lnTo>
                  <a:lnTo>
                    <a:pt x="177" y="1549"/>
                  </a:lnTo>
                  <a:lnTo>
                    <a:pt x="148" y="1502"/>
                  </a:lnTo>
                  <a:lnTo>
                    <a:pt x="120" y="1452"/>
                  </a:lnTo>
                  <a:lnTo>
                    <a:pt x="97" y="1400"/>
                  </a:lnTo>
                  <a:lnTo>
                    <a:pt x="74" y="1349"/>
                  </a:lnTo>
                  <a:lnTo>
                    <a:pt x="55" y="1298"/>
                  </a:lnTo>
                  <a:lnTo>
                    <a:pt x="40" y="1246"/>
                  </a:lnTo>
                  <a:lnTo>
                    <a:pt x="27" y="1193"/>
                  </a:lnTo>
                  <a:lnTo>
                    <a:pt x="17" y="1141"/>
                  </a:lnTo>
                  <a:lnTo>
                    <a:pt x="8" y="1087"/>
                  </a:lnTo>
                  <a:lnTo>
                    <a:pt x="3" y="1034"/>
                  </a:lnTo>
                  <a:lnTo>
                    <a:pt x="0" y="981"/>
                  </a:lnTo>
                  <a:lnTo>
                    <a:pt x="0" y="928"/>
                  </a:lnTo>
                  <a:lnTo>
                    <a:pt x="2" y="875"/>
                  </a:lnTo>
                  <a:lnTo>
                    <a:pt x="8" y="822"/>
                  </a:lnTo>
                  <a:lnTo>
                    <a:pt x="15" y="770"/>
                  </a:lnTo>
                  <a:lnTo>
                    <a:pt x="25" y="718"/>
                  </a:lnTo>
                  <a:lnTo>
                    <a:pt x="38" y="667"/>
                  </a:lnTo>
                  <a:lnTo>
                    <a:pt x="52" y="616"/>
                  </a:lnTo>
                  <a:lnTo>
                    <a:pt x="70" y="566"/>
                  </a:lnTo>
                  <a:lnTo>
                    <a:pt x="79" y="542"/>
                  </a:lnTo>
                  <a:lnTo>
                    <a:pt x="89" y="517"/>
                  </a:lnTo>
                  <a:lnTo>
                    <a:pt x="111" y="470"/>
                  </a:lnTo>
                  <a:lnTo>
                    <a:pt x="135" y="422"/>
                  </a:lnTo>
                  <a:lnTo>
                    <a:pt x="162" y="376"/>
                  </a:lnTo>
                  <a:lnTo>
                    <a:pt x="191" y="332"/>
                  </a:lnTo>
                  <a:lnTo>
                    <a:pt x="222" y="289"/>
                  </a:lnTo>
                  <a:lnTo>
                    <a:pt x="255" y="246"/>
                  </a:lnTo>
                  <a:lnTo>
                    <a:pt x="291" y="205"/>
                  </a:lnTo>
                  <a:lnTo>
                    <a:pt x="329" y="166"/>
                  </a:lnTo>
                  <a:lnTo>
                    <a:pt x="369" y="130"/>
                  </a:lnTo>
                  <a:lnTo>
                    <a:pt x="411" y="94"/>
                  </a:lnTo>
                  <a:lnTo>
                    <a:pt x="455" y="61"/>
                  </a:lnTo>
                  <a:lnTo>
                    <a:pt x="501" y="29"/>
                  </a:lnTo>
                  <a:lnTo>
                    <a:pt x="550" y="0"/>
                  </a:lnTo>
                  <a:lnTo>
                    <a:pt x="825" y="74"/>
                  </a:lnTo>
                  <a:lnTo>
                    <a:pt x="751" y="349"/>
                  </a:lnTo>
                  <a:lnTo>
                    <a:pt x="720" y="369"/>
                  </a:lnTo>
                  <a:lnTo>
                    <a:pt x="690" y="389"/>
                  </a:lnTo>
                  <a:lnTo>
                    <a:pt x="661" y="411"/>
                  </a:lnTo>
                  <a:lnTo>
                    <a:pt x="634" y="434"/>
                  </a:lnTo>
                  <a:lnTo>
                    <a:pt x="608" y="459"/>
                  </a:lnTo>
                  <a:lnTo>
                    <a:pt x="584" y="484"/>
                  </a:lnTo>
                  <a:lnTo>
                    <a:pt x="540" y="537"/>
                  </a:lnTo>
                  <a:lnTo>
                    <a:pt x="520" y="565"/>
                  </a:lnTo>
                  <a:lnTo>
                    <a:pt x="502" y="594"/>
                  </a:lnTo>
                  <a:lnTo>
                    <a:pt x="485" y="624"/>
                  </a:lnTo>
                  <a:lnTo>
                    <a:pt x="470" y="655"/>
                  </a:lnTo>
                  <a:lnTo>
                    <a:pt x="455" y="686"/>
                  </a:lnTo>
                  <a:lnTo>
                    <a:pt x="443" y="717"/>
                  </a:lnTo>
                  <a:lnTo>
                    <a:pt x="424" y="782"/>
                  </a:lnTo>
                  <a:lnTo>
                    <a:pt x="410" y="848"/>
                  </a:lnTo>
                  <a:lnTo>
                    <a:pt x="403" y="915"/>
                  </a:lnTo>
                  <a:lnTo>
                    <a:pt x="401" y="948"/>
                  </a:lnTo>
                  <a:lnTo>
                    <a:pt x="401" y="982"/>
                  </a:lnTo>
                  <a:lnTo>
                    <a:pt x="403" y="1015"/>
                  </a:lnTo>
                  <a:lnTo>
                    <a:pt x="406" y="1048"/>
                  </a:lnTo>
                  <a:lnTo>
                    <a:pt x="411" y="1082"/>
                  </a:lnTo>
                  <a:lnTo>
                    <a:pt x="418" y="1115"/>
                  </a:lnTo>
                  <a:lnTo>
                    <a:pt x="426" y="1147"/>
                  </a:lnTo>
                  <a:lnTo>
                    <a:pt x="435" y="1179"/>
                  </a:lnTo>
                  <a:lnTo>
                    <a:pt x="448" y="1211"/>
                  </a:lnTo>
                  <a:lnTo>
                    <a:pt x="460" y="1242"/>
                  </a:lnTo>
                  <a:lnTo>
                    <a:pt x="475" y="1273"/>
                  </a:lnTo>
                  <a:lnTo>
                    <a:pt x="491" y="1303"/>
                  </a:lnTo>
                  <a:lnTo>
                    <a:pt x="509" y="1332"/>
                  </a:lnTo>
                  <a:lnTo>
                    <a:pt x="528" y="1359"/>
                  </a:lnTo>
                  <a:lnTo>
                    <a:pt x="570" y="1412"/>
                  </a:lnTo>
                  <a:lnTo>
                    <a:pt x="593" y="1436"/>
                  </a:lnTo>
                  <a:lnTo>
                    <a:pt x="618" y="1459"/>
                  </a:lnTo>
                  <a:lnTo>
                    <a:pt x="643" y="1482"/>
                  </a:lnTo>
                  <a:lnTo>
                    <a:pt x="669" y="1503"/>
                  </a:lnTo>
                  <a:lnTo>
                    <a:pt x="724" y="1540"/>
                  </a:lnTo>
                  <a:lnTo>
                    <a:pt x="753" y="1557"/>
                  </a:lnTo>
                  <a:lnTo>
                    <a:pt x="783" y="1573"/>
                  </a:lnTo>
                  <a:lnTo>
                    <a:pt x="844" y="1600"/>
                  </a:lnTo>
                  <a:lnTo>
                    <a:pt x="876" y="1612"/>
                  </a:lnTo>
                  <a:lnTo>
                    <a:pt x="909" y="1622"/>
                  </a:lnTo>
                  <a:lnTo>
                    <a:pt x="974" y="1636"/>
                  </a:lnTo>
                  <a:lnTo>
                    <a:pt x="1007" y="1642"/>
                  </a:lnTo>
                  <a:lnTo>
                    <a:pt x="1042" y="1645"/>
                  </a:lnTo>
                  <a:lnTo>
                    <a:pt x="1075" y="1647"/>
                  </a:lnTo>
                  <a:lnTo>
                    <a:pt x="1110" y="1647"/>
                  </a:lnTo>
                  <a:lnTo>
                    <a:pt x="1144" y="1646"/>
                  </a:lnTo>
                  <a:lnTo>
                    <a:pt x="1178" y="1643"/>
                  </a:lnTo>
                  <a:lnTo>
                    <a:pt x="1213" y="1638"/>
                  </a:lnTo>
                  <a:lnTo>
                    <a:pt x="1246" y="1632"/>
                  </a:lnTo>
                  <a:lnTo>
                    <a:pt x="1281" y="1624"/>
                  </a:lnTo>
                  <a:lnTo>
                    <a:pt x="1315" y="1614"/>
                  </a:lnTo>
                  <a:lnTo>
                    <a:pt x="1348" y="1602"/>
                  </a:lnTo>
                  <a:lnTo>
                    <a:pt x="1382" y="1587"/>
                  </a:lnTo>
                  <a:lnTo>
                    <a:pt x="1415" y="1572"/>
                  </a:lnTo>
                  <a:lnTo>
                    <a:pt x="1447" y="1554"/>
                  </a:lnTo>
                  <a:close/>
                  <a:moveTo>
                    <a:pt x="565" y="1259"/>
                  </a:moveTo>
                  <a:lnTo>
                    <a:pt x="598" y="1309"/>
                  </a:lnTo>
                  <a:lnTo>
                    <a:pt x="634" y="1356"/>
                  </a:lnTo>
                  <a:lnTo>
                    <a:pt x="676" y="1398"/>
                  </a:lnTo>
                  <a:lnTo>
                    <a:pt x="721" y="1435"/>
                  </a:lnTo>
                  <a:lnTo>
                    <a:pt x="745" y="1453"/>
                  </a:lnTo>
                  <a:lnTo>
                    <a:pt x="770" y="1468"/>
                  </a:lnTo>
                  <a:lnTo>
                    <a:pt x="821" y="1497"/>
                  </a:lnTo>
                  <a:lnTo>
                    <a:pt x="847" y="1509"/>
                  </a:lnTo>
                  <a:lnTo>
                    <a:pt x="875" y="1520"/>
                  </a:lnTo>
                  <a:lnTo>
                    <a:pt x="932" y="1539"/>
                  </a:lnTo>
                  <a:lnTo>
                    <a:pt x="990" y="1553"/>
                  </a:lnTo>
                  <a:lnTo>
                    <a:pt x="1049" y="1560"/>
                  </a:lnTo>
                  <a:lnTo>
                    <a:pt x="1108" y="1563"/>
                  </a:lnTo>
                  <a:lnTo>
                    <a:pt x="1168" y="1558"/>
                  </a:lnTo>
                  <a:lnTo>
                    <a:pt x="1228" y="1548"/>
                  </a:lnTo>
                  <a:lnTo>
                    <a:pt x="1288" y="1533"/>
                  </a:lnTo>
                  <a:lnTo>
                    <a:pt x="1347" y="1509"/>
                  </a:lnTo>
                  <a:lnTo>
                    <a:pt x="1405" y="1480"/>
                  </a:lnTo>
                  <a:lnTo>
                    <a:pt x="1460" y="1445"/>
                  </a:lnTo>
                  <a:lnTo>
                    <a:pt x="1485" y="1426"/>
                  </a:lnTo>
                  <a:lnTo>
                    <a:pt x="1508" y="1405"/>
                  </a:lnTo>
                  <a:lnTo>
                    <a:pt x="1553" y="1362"/>
                  </a:lnTo>
                  <a:lnTo>
                    <a:pt x="1592" y="1314"/>
                  </a:lnTo>
                  <a:lnTo>
                    <a:pt x="1625" y="1264"/>
                  </a:lnTo>
                  <a:lnTo>
                    <a:pt x="1639" y="1237"/>
                  </a:lnTo>
                  <a:lnTo>
                    <a:pt x="1653" y="1211"/>
                  </a:lnTo>
                  <a:lnTo>
                    <a:pt x="1665" y="1184"/>
                  </a:lnTo>
                  <a:lnTo>
                    <a:pt x="1676" y="1156"/>
                  </a:lnTo>
                  <a:lnTo>
                    <a:pt x="1693" y="1099"/>
                  </a:lnTo>
                  <a:lnTo>
                    <a:pt x="1705" y="1042"/>
                  </a:lnTo>
                  <a:lnTo>
                    <a:pt x="1709" y="1013"/>
                  </a:lnTo>
                  <a:lnTo>
                    <a:pt x="1712" y="983"/>
                  </a:lnTo>
                  <a:lnTo>
                    <a:pt x="1713" y="924"/>
                  </a:lnTo>
                  <a:lnTo>
                    <a:pt x="1708" y="866"/>
                  </a:lnTo>
                  <a:lnTo>
                    <a:pt x="1697" y="807"/>
                  </a:lnTo>
                  <a:lnTo>
                    <a:pt x="1682" y="751"/>
                  </a:lnTo>
                  <a:lnTo>
                    <a:pt x="1661" y="696"/>
                  </a:lnTo>
                  <a:lnTo>
                    <a:pt x="1634" y="643"/>
                  </a:lnTo>
                  <a:lnTo>
                    <a:pt x="1602" y="593"/>
                  </a:lnTo>
                  <a:lnTo>
                    <a:pt x="1564" y="547"/>
                  </a:lnTo>
                  <a:lnTo>
                    <a:pt x="1523" y="505"/>
                  </a:lnTo>
                  <a:lnTo>
                    <a:pt x="1501" y="485"/>
                  </a:lnTo>
                  <a:lnTo>
                    <a:pt x="1478" y="467"/>
                  </a:lnTo>
                  <a:lnTo>
                    <a:pt x="1454" y="450"/>
                  </a:lnTo>
                  <a:lnTo>
                    <a:pt x="1430" y="434"/>
                  </a:lnTo>
                  <a:lnTo>
                    <a:pt x="1378" y="405"/>
                  </a:lnTo>
                  <a:lnTo>
                    <a:pt x="1352" y="393"/>
                  </a:lnTo>
                  <a:lnTo>
                    <a:pt x="1324" y="382"/>
                  </a:lnTo>
                  <a:lnTo>
                    <a:pt x="1268" y="363"/>
                  </a:lnTo>
                  <a:lnTo>
                    <a:pt x="1240" y="356"/>
                  </a:lnTo>
                  <a:lnTo>
                    <a:pt x="1211" y="350"/>
                  </a:lnTo>
                  <a:lnTo>
                    <a:pt x="1181" y="345"/>
                  </a:lnTo>
                  <a:lnTo>
                    <a:pt x="1152" y="342"/>
                  </a:lnTo>
                  <a:lnTo>
                    <a:pt x="1092" y="340"/>
                  </a:lnTo>
                  <a:lnTo>
                    <a:pt x="1031" y="344"/>
                  </a:lnTo>
                  <a:lnTo>
                    <a:pt x="971" y="354"/>
                  </a:lnTo>
                  <a:lnTo>
                    <a:pt x="911" y="370"/>
                  </a:lnTo>
                  <a:lnTo>
                    <a:pt x="881" y="381"/>
                  </a:lnTo>
                  <a:lnTo>
                    <a:pt x="852" y="393"/>
                  </a:lnTo>
                  <a:lnTo>
                    <a:pt x="823" y="406"/>
                  </a:lnTo>
                  <a:lnTo>
                    <a:pt x="794" y="423"/>
                  </a:lnTo>
                  <a:lnTo>
                    <a:pt x="766" y="440"/>
                  </a:lnTo>
                  <a:lnTo>
                    <a:pt x="740" y="457"/>
                  </a:lnTo>
                  <a:lnTo>
                    <a:pt x="714" y="476"/>
                  </a:lnTo>
                  <a:lnTo>
                    <a:pt x="691" y="497"/>
                  </a:lnTo>
                  <a:lnTo>
                    <a:pt x="646" y="541"/>
                  </a:lnTo>
                  <a:lnTo>
                    <a:pt x="609" y="589"/>
                  </a:lnTo>
                  <a:lnTo>
                    <a:pt x="574" y="639"/>
                  </a:lnTo>
                  <a:lnTo>
                    <a:pt x="560" y="664"/>
                  </a:lnTo>
                  <a:lnTo>
                    <a:pt x="546" y="692"/>
                  </a:lnTo>
                  <a:lnTo>
                    <a:pt x="534" y="718"/>
                  </a:lnTo>
                  <a:lnTo>
                    <a:pt x="524" y="746"/>
                  </a:lnTo>
                  <a:lnTo>
                    <a:pt x="506" y="803"/>
                  </a:lnTo>
                  <a:lnTo>
                    <a:pt x="494" y="861"/>
                  </a:lnTo>
                  <a:lnTo>
                    <a:pt x="488" y="920"/>
                  </a:lnTo>
                  <a:lnTo>
                    <a:pt x="486" y="978"/>
                  </a:lnTo>
                  <a:lnTo>
                    <a:pt x="491" y="1037"/>
                  </a:lnTo>
                  <a:lnTo>
                    <a:pt x="495" y="1066"/>
                  </a:lnTo>
                  <a:lnTo>
                    <a:pt x="501" y="1095"/>
                  </a:lnTo>
                  <a:lnTo>
                    <a:pt x="516" y="1152"/>
                  </a:lnTo>
                  <a:lnTo>
                    <a:pt x="538" y="1207"/>
                  </a:lnTo>
                  <a:lnTo>
                    <a:pt x="565" y="12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9" name="Picture Placeholder 8"/>
          <p:cNvSpPr>
            <a:spLocks noGrp="1"/>
          </p:cNvSpPr>
          <p:nvPr>
            <p:ph type="pic" sz="quarter" idx="16"/>
          </p:nvPr>
        </p:nvSpPr>
        <p:spPr>
          <a:xfrm>
            <a:off x="0" y="0"/>
            <a:ext cx="12192000" cy="6858000"/>
          </a:xfrm>
          <a:custGeom>
            <a:avLst/>
            <a:gdLst/>
            <a:ahLst/>
            <a:cxnLst/>
            <a:rect l="l" t="t" r="r" b="b"/>
            <a:pathLst>
              <a:path w="12192000" h="6858000">
                <a:moveTo>
                  <a:pt x="10297850" y="6211927"/>
                </a:moveTo>
                <a:lnTo>
                  <a:pt x="10297850" y="6333814"/>
                </a:lnTo>
                <a:lnTo>
                  <a:pt x="10297850" y="6455701"/>
                </a:lnTo>
                <a:lnTo>
                  <a:pt x="10297850" y="6577587"/>
                </a:lnTo>
                <a:lnTo>
                  <a:pt x="10297850" y="6699474"/>
                </a:lnTo>
                <a:lnTo>
                  <a:pt x="10389125" y="6699474"/>
                </a:lnTo>
                <a:lnTo>
                  <a:pt x="10480540" y="6699474"/>
                </a:lnTo>
                <a:lnTo>
                  <a:pt x="10572095" y="6699474"/>
                </a:lnTo>
                <a:lnTo>
                  <a:pt x="10663510" y="6699474"/>
                </a:lnTo>
                <a:lnTo>
                  <a:pt x="10754785" y="6699474"/>
                </a:lnTo>
                <a:lnTo>
                  <a:pt x="10846199" y="6699474"/>
                </a:lnTo>
                <a:lnTo>
                  <a:pt x="10937754" y="6699474"/>
                </a:lnTo>
                <a:lnTo>
                  <a:pt x="11029169" y="6699474"/>
                </a:lnTo>
                <a:lnTo>
                  <a:pt x="11120444" y="6699474"/>
                </a:lnTo>
                <a:lnTo>
                  <a:pt x="11211859" y="6699474"/>
                </a:lnTo>
                <a:lnTo>
                  <a:pt x="11303274" y="6699474"/>
                </a:lnTo>
                <a:lnTo>
                  <a:pt x="11394828" y="6699474"/>
                </a:lnTo>
                <a:lnTo>
                  <a:pt x="11486104" y="6699474"/>
                </a:lnTo>
                <a:lnTo>
                  <a:pt x="11577518" y="6699474"/>
                </a:lnTo>
                <a:lnTo>
                  <a:pt x="11668933" y="6699474"/>
                </a:lnTo>
                <a:lnTo>
                  <a:pt x="11760488" y="6699474"/>
                </a:lnTo>
                <a:lnTo>
                  <a:pt x="11760488" y="6577587"/>
                </a:lnTo>
                <a:lnTo>
                  <a:pt x="11760488" y="6455701"/>
                </a:lnTo>
                <a:lnTo>
                  <a:pt x="11760488" y="6333814"/>
                </a:lnTo>
                <a:lnTo>
                  <a:pt x="11760488" y="6211927"/>
                </a:lnTo>
                <a:lnTo>
                  <a:pt x="11668933" y="6211927"/>
                </a:lnTo>
                <a:lnTo>
                  <a:pt x="11577518" y="6211927"/>
                </a:lnTo>
                <a:lnTo>
                  <a:pt x="11486104" y="6211927"/>
                </a:lnTo>
                <a:lnTo>
                  <a:pt x="11394828" y="6211927"/>
                </a:lnTo>
                <a:lnTo>
                  <a:pt x="11303274" y="6211927"/>
                </a:lnTo>
                <a:lnTo>
                  <a:pt x="11211859" y="6211927"/>
                </a:lnTo>
                <a:lnTo>
                  <a:pt x="11120444" y="6211927"/>
                </a:lnTo>
                <a:lnTo>
                  <a:pt x="11029169" y="6211927"/>
                </a:lnTo>
                <a:lnTo>
                  <a:pt x="10937754" y="6211927"/>
                </a:lnTo>
                <a:lnTo>
                  <a:pt x="10846199" y="6211927"/>
                </a:lnTo>
                <a:lnTo>
                  <a:pt x="10754785" y="6211927"/>
                </a:lnTo>
                <a:lnTo>
                  <a:pt x="10663510" y="6211927"/>
                </a:lnTo>
                <a:lnTo>
                  <a:pt x="10572095" y="6211927"/>
                </a:lnTo>
                <a:lnTo>
                  <a:pt x="10480540" y="6211927"/>
                </a:lnTo>
                <a:lnTo>
                  <a:pt x="10389125" y="6211927"/>
                </a:lnTo>
                <a:close/>
                <a:moveTo>
                  <a:pt x="0" y="0"/>
                </a:moveTo>
                <a:lnTo>
                  <a:pt x="12192000" y="0"/>
                </a:lnTo>
                <a:lnTo>
                  <a:pt x="12192000" y="6858000"/>
                </a:lnTo>
                <a:lnTo>
                  <a:pt x="0" y="6858000"/>
                </a:lnTo>
                <a:close/>
              </a:path>
            </a:pathLst>
          </a:custGeom>
          <a:solidFill>
            <a:srgbClr val="EAEAEA"/>
          </a:solidFill>
        </p:spPr>
        <p:txBody>
          <a:bodyPr>
            <a:normAutofit/>
          </a:bodyPr>
          <a:lstStyle>
            <a:lvl1pPr marL="0" indent="0" algn="r">
              <a:buFontTx/>
              <a:buNone/>
              <a:defRPr sz="1200"/>
            </a:lvl1pPr>
          </a:lstStyle>
          <a:p>
            <a:r>
              <a:rPr lang="nb-NO"/>
              <a:t>Klikk ikonet for å legge til et bilde</a:t>
            </a:r>
            <a:endParaRPr lang="en-GB"/>
          </a:p>
        </p:txBody>
      </p:sp>
      <p:sp>
        <p:nvSpPr>
          <p:cNvPr id="2" name="Title 1"/>
          <p:cNvSpPr>
            <a:spLocks noGrp="1"/>
          </p:cNvSpPr>
          <p:nvPr>
            <p:ph type="ctrTitle"/>
          </p:nvPr>
        </p:nvSpPr>
        <p:spPr>
          <a:xfrm>
            <a:off x="550866" y="1926000"/>
            <a:ext cx="9217025" cy="1296000"/>
          </a:xfrm>
        </p:spPr>
        <p:txBody>
          <a:bodyPr anchor="t" anchorCtr="0"/>
          <a:lstStyle>
            <a:lvl1pPr algn="l">
              <a:defRPr sz="5000" b="1">
                <a:solidFill>
                  <a:schemeClr val="accent2"/>
                </a:solidFill>
              </a:defRPr>
            </a:lvl1pPr>
          </a:lstStyle>
          <a:p>
            <a:r>
              <a:rPr lang="nb-NO"/>
              <a:t>Klikk for å redigere tittelstil</a:t>
            </a:r>
            <a:endParaRPr lang="en-US" dirty="0"/>
          </a:p>
        </p:txBody>
      </p:sp>
      <p:sp>
        <p:nvSpPr>
          <p:cNvPr id="3" name="Subtitle 2"/>
          <p:cNvSpPr>
            <a:spLocks noGrp="1"/>
          </p:cNvSpPr>
          <p:nvPr>
            <p:ph type="subTitle" idx="1"/>
          </p:nvPr>
        </p:nvSpPr>
        <p:spPr>
          <a:xfrm>
            <a:off x="550866" y="1404000"/>
            <a:ext cx="9217025" cy="360000"/>
          </a:xfrm>
        </p:spPr>
        <p:txBody>
          <a:bodyPr anchor="b" anchorCtr="0"/>
          <a:lstStyle>
            <a:lvl1pPr marL="0" indent="0" algn="l">
              <a:buNone/>
              <a:defRPr sz="20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US" dirty="0"/>
          </a:p>
        </p:txBody>
      </p:sp>
      <p:sp>
        <p:nvSpPr>
          <p:cNvPr id="4" name="Date Placeholder 3"/>
          <p:cNvSpPr>
            <a:spLocks noGrp="1"/>
          </p:cNvSpPr>
          <p:nvPr>
            <p:ph type="dt" sz="half" idx="10"/>
          </p:nvPr>
        </p:nvSpPr>
        <p:spPr>
          <a:noFill/>
        </p:spPr>
        <p:txBody>
          <a:bodyPr/>
          <a:lstStyle>
            <a:lvl1pPr>
              <a:defRPr>
                <a:noFill/>
              </a:defRPr>
            </a:lvl1pPr>
          </a:lstStyle>
          <a:p>
            <a:fld id="{1007622A-B505-4192-9E07-988546934E8F}" type="datetime1">
              <a:rPr lang="en-US" smtClean="0"/>
              <a:t>5/29/19</a:t>
            </a:fld>
            <a:endParaRPr lang="en-US"/>
          </a:p>
        </p:txBody>
      </p:sp>
      <p:sp>
        <p:nvSpPr>
          <p:cNvPr id="5" name="Footer Placeholder 4"/>
          <p:cNvSpPr>
            <a:spLocks noGrp="1"/>
          </p:cNvSpPr>
          <p:nvPr>
            <p:ph type="ftr" sz="quarter" idx="11"/>
          </p:nvPr>
        </p:nvSpPr>
        <p:spPr>
          <a:noFill/>
        </p:spPr>
        <p:txBody>
          <a:bodyPr/>
          <a:lstStyle>
            <a:lvl1pPr>
              <a:defRPr>
                <a:noFill/>
              </a:defRPr>
            </a:lvl1pPr>
          </a:lstStyle>
          <a:p>
            <a:endParaRPr lang="en-US"/>
          </a:p>
        </p:txBody>
      </p:sp>
      <p:sp>
        <p:nvSpPr>
          <p:cNvPr id="6" name="Slide Number Placeholder 5"/>
          <p:cNvSpPr>
            <a:spLocks noGrp="1"/>
          </p:cNvSpPr>
          <p:nvPr>
            <p:ph type="sldNum" sz="quarter" idx="12"/>
          </p:nvPr>
        </p:nvSpPr>
        <p:spPr>
          <a:noFill/>
        </p:spPr>
        <p:txBody>
          <a:bodyPr/>
          <a:lstStyle>
            <a:lvl1pPr>
              <a:defRPr>
                <a:noFill/>
              </a:defRPr>
            </a:lvl1pPr>
          </a:lstStyle>
          <a:p>
            <a:fld id="{F90E5A77-D385-4CDE-8FE8-D3E3CBE93E71}" type="slidenum">
              <a:rPr lang="en-US" smtClean="0"/>
              <a:pPr/>
              <a:t>‹#›</a:t>
            </a:fld>
            <a:endParaRPr lang="en-US"/>
          </a:p>
        </p:txBody>
      </p:sp>
      <p:sp>
        <p:nvSpPr>
          <p:cNvPr id="12" name="Text Placeholder 11"/>
          <p:cNvSpPr>
            <a:spLocks noGrp="1"/>
          </p:cNvSpPr>
          <p:nvPr>
            <p:ph type="body" sz="quarter" idx="13" hasCustomPrompt="1"/>
          </p:nvPr>
        </p:nvSpPr>
        <p:spPr>
          <a:xfrm>
            <a:off x="550866" y="4653136"/>
            <a:ext cx="9217025" cy="720552"/>
          </a:xfrm>
        </p:spPr>
        <p:txBody>
          <a:bodyPr/>
          <a:lstStyle>
            <a:lvl1pPr marL="0" indent="0">
              <a:buFontTx/>
              <a:buNone/>
              <a:defRPr baseline="0"/>
            </a:lvl1pPr>
          </a:lstStyle>
          <a:p>
            <a:pPr lvl="0"/>
            <a:r>
              <a:rPr lang="en-US" dirty="0"/>
              <a:t>Name / Title / Date</a:t>
            </a:r>
          </a:p>
        </p:txBody>
      </p:sp>
      <p:sp>
        <p:nvSpPr>
          <p:cNvPr id="16" name="Text Placeholder 21"/>
          <p:cNvSpPr>
            <a:spLocks noGrp="1"/>
          </p:cNvSpPr>
          <p:nvPr>
            <p:ph type="body" sz="quarter" idx="15" hasCustomPrompt="1"/>
          </p:nvPr>
        </p:nvSpPr>
        <p:spPr>
          <a:xfrm>
            <a:off x="0" y="-2098"/>
            <a:ext cx="1299600" cy="831600"/>
          </a:xfrm>
          <a:blipFill>
            <a:blip r:embed="rId2" cstate="screen">
              <a:extLst>
                <a:ext uri="{28A0092B-C50C-407E-A947-70E740481C1C}">
                  <a14:useLocalDpi xmlns:a14="http://schemas.microsoft.com/office/drawing/2010/main"/>
                </a:ext>
              </a:extLst>
            </a:blip>
            <a:stretch>
              <a:fillRect/>
            </a:stretch>
          </a:blipFill>
        </p:spPr>
        <p:txBody>
          <a:bodyPr>
            <a:normAutofit/>
          </a:bodyPr>
          <a:lstStyle>
            <a:lvl1pPr marL="0" indent="0">
              <a:buFontTx/>
              <a:buNone/>
              <a:defRPr sz="200">
                <a:noFill/>
              </a:defRPr>
            </a:lvl1pPr>
          </a:lstStyle>
          <a:p>
            <a:pPr lvl="0"/>
            <a:r>
              <a:rPr lang="fi-FI" dirty="0"/>
              <a:t> </a:t>
            </a:r>
          </a:p>
        </p:txBody>
      </p:sp>
    </p:spTree>
    <p:extLst>
      <p:ext uri="{BB962C8B-B14F-4D97-AF65-F5344CB8AC3E}">
        <p14:creationId xmlns:p14="http://schemas.microsoft.com/office/powerpoint/2010/main" val="10927205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_slide_nega_picture_2nd">
    <p:spTree>
      <p:nvGrpSpPr>
        <p:cNvPr id="1" name=""/>
        <p:cNvGrpSpPr/>
        <p:nvPr/>
      </p:nvGrpSpPr>
      <p:grpSpPr>
        <a:xfrm>
          <a:off x="0" y="0"/>
          <a:ext cx="0" cy="0"/>
          <a:chOff x="0" y="0"/>
          <a:chExt cx="0" cy="0"/>
        </a:xfrm>
      </p:grpSpPr>
      <p:grpSp>
        <p:nvGrpSpPr>
          <p:cNvPr id="26" name="Group 25"/>
          <p:cNvGrpSpPr>
            <a:grpSpLocks noChangeAspect="1"/>
          </p:cNvGrpSpPr>
          <p:nvPr userDrawn="1"/>
        </p:nvGrpSpPr>
        <p:grpSpPr>
          <a:xfrm>
            <a:off x="10297850" y="6211927"/>
            <a:ext cx="1462638" cy="487547"/>
            <a:chOff x="10297850" y="6211927"/>
            <a:chExt cx="1462638" cy="487547"/>
          </a:xfrm>
        </p:grpSpPr>
        <p:sp>
          <p:nvSpPr>
            <p:cNvPr id="27" name="Freeform 6"/>
            <p:cNvSpPr>
              <a:spLocks/>
            </p:cNvSpPr>
            <p:nvPr userDrawn="1"/>
          </p:nvSpPr>
          <p:spPr bwMode="auto">
            <a:xfrm>
              <a:off x="10297850" y="6211927"/>
              <a:ext cx="1462638" cy="487547"/>
            </a:xfrm>
            <a:custGeom>
              <a:avLst/>
              <a:gdLst>
                <a:gd name="T0" fmla="*/ 0 w 10464"/>
                <a:gd name="T1" fmla="*/ 3488 h 3488"/>
                <a:gd name="T2" fmla="*/ 653 w 10464"/>
                <a:gd name="T3" fmla="*/ 3488 h 3488"/>
                <a:gd name="T4" fmla="*/ 1307 w 10464"/>
                <a:gd name="T5" fmla="*/ 3488 h 3488"/>
                <a:gd name="T6" fmla="*/ 1962 w 10464"/>
                <a:gd name="T7" fmla="*/ 3488 h 3488"/>
                <a:gd name="T8" fmla="*/ 2616 w 10464"/>
                <a:gd name="T9" fmla="*/ 3488 h 3488"/>
                <a:gd name="T10" fmla="*/ 3269 w 10464"/>
                <a:gd name="T11" fmla="*/ 3488 h 3488"/>
                <a:gd name="T12" fmla="*/ 3923 w 10464"/>
                <a:gd name="T13" fmla="*/ 3488 h 3488"/>
                <a:gd name="T14" fmla="*/ 4578 w 10464"/>
                <a:gd name="T15" fmla="*/ 3488 h 3488"/>
                <a:gd name="T16" fmla="*/ 5232 w 10464"/>
                <a:gd name="T17" fmla="*/ 3488 h 3488"/>
                <a:gd name="T18" fmla="*/ 5885 w 10464"/>
                <a:gd name="T19" fmla="*/ 3488 h 3488"/>
                <a:gd name="T20" fmla="*/ 6539 w 10464"/>
                <a:gd name="T21" fmla="*/ 3488 h 3488"/>
                <a:gd name="T22" fmla="*/ 7193 w 10464"/>
                <a:gd name="T23" fmla="*/ 3488 h 3488"/>
                <a:gd name="T24" fmla="*/ 7848 w 10464"/>
                <a:gd name="T25" fmla="*/ 3488 h 3488"/>
                <a:gd name="T26" fmla="*/ 8501 w 10464"/>
                <a:gd name="T27" fmla="*/ 3488 h 3488"/>
                <a:gd name="T28" fmla="*/ 9155 w 10464"/>
                <a:gd name="T29" fmla="*/ 3488 h 3488"/>
                <a:gd name="T30" fmla="*/ 9809 w 10464"/>
                <a:gd name="T31" fmla="*/ 3488 h 3488"/>
                <a:gd name="T32" fmla="*/ 10464 w 10464"/>
                <a:gd name="T33" fmla="*/ 3488 h 3488"/>
                <a:gd name="T34" fmla="*/ 10464 w 10464"/>
                <a:gd name="T35" fmla="*/ 2616 h 3488"/>
                <a:gd name="T36" fmla="*/ 10464 w 10464"/>
                <a:gd name="T37" fmla="*/ 1744 h 3488"/>
                <a:gd name="T38" fmla="*/ 10464 w 10464"/>
                <a:gd name="T39" fmla="*/ 872 h 3488"/>
                <a:gd name="T40" fmla="*/ 10464 w 10464"/>
                <a:gd name="T41" fmla="*/ 0 h 3488"/>
                <a:gd name="T42" fmla="*/ 9809 w 10464"/>
                <a:gd name="T43" fmla="*/ 0 h 3488"/>
                <a:gd name="T44" fmla="*/ 9155 w 10464"/>
                <a:gd name="T45" fmla="*/ 0 h 3488"/>
                <a:gd name="T46" fmla="*/ 8501 w 10464"/>
                <a:gd name="T47" fmla="*/ 0 h 3488"/>
                <a:gd name="T48" fmla="*/ 7848 w 10464"/>
                <a:gd name="T49" fmla="*/ 0 h 3488"/>
                <a:gd name="T50" fmla="*/ 7193 w 10464"/>
                <a:gd name="T51" fmla="*/ 0 h 3488"/>
                <a:gd name="T52" fmla="*/ 6539 w 10464"/>
                <a:gd name="T53" fmla="*/ 0 h 3488"/>
                <a:gd name="T54" fmla="*/ 5885 w 10464"/>
                <a:gd name="T55" fmla="*/ 0 h 3488"/>
                <a:gd name="T56" fmla="*/ 5232 w 10464"/>
                <a:gd name="T57" fmla="*/ 0 h 3488"/>
                <a:gd name="T58" fmla="*/ 4578 w 10464"/>
                <a:gd name="T59" fmla="*/ 0 h 3488"/>
                <a:gd name="T60" fmla="*/ 3923 w 10464"/>
                <a:gd name="T61" fmla="*/ 0 h 3488"/>
                <a:gd name="T62" fmla="*/ 3269 w 10464"/>
                <a:gd name="T63" fmla="*/ 0 h 3488"/>
                <a:gd name="T64" fmla="*/ 2616 w 10464"/>
                <a:gd name="T65" fmla="*/ 0 h 3488"/>
                <a:gd name="T66" fmla="*/ 1962 w 10464"/>
                <a:gd name="T67" fmla="*/ 0 h 3488"/>
                <a:gd name="T68" fmla="*/ 1307 w 10464"/>
                <a:gd name="T69" fmla="*/ 0 h 3488"/>
                <a:gd name="T70" fmla="*/ 653 w 10464"/>
                <a:gd name="T71" fmla="*/ 0 h 3488"/>
                <a:gd name="T72" fmla="*/ 0 w 10464"/>
                <a:gd name="T73" fmla="*/ 0 h 3488"/>
                <a:gd name="T74" fmla="*/ 0 w 10464"/>
                <a:gd name="T75" fmla="*/ 872 h 3488"/>
                <a:gd name="T76" fmla="*/ 0 w 10464"/>
                <a:gd name="T77" fmla="*/ 1744 h 3488"/>
                <a:gd name="T78" fmla="*/ 0 w 10464"/>
                <a:gd name="T79" fmla="*/ 2616 h 3488"/>
                <a:gd name="T80" fmla="*/ 0 w 10464"/>
                <a:gd name="T81" fmla="*/ 3488 h 3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464" h="3488">
                  <a:moveTo>
                    <a:pt x="0" y="3488"/>
                  </a:moveTo>
                  <a:lnTo>
                    <a:pt x="653" y="3488"/>
                  </a:lnTo>
                  <a:lnTo>
                    <a:pt x="1307" y="3488"/>
                  </a:lnTo>
                  <a:lnTo>
                    <a:pt x="1962" y="3488"/>
                  </a:lnTo>
                  <a:lnTo>
                    <a:pt x="2616" y="3488"/>
                  </a:lnTo>
                  <a:lnTo>
                    <a:pt x="3269" y="3488"/>
                  </a:lnTo>
                  <a:lnTo>
                    <a:pt x="3923" y="3488"/>
                  </a:lnTo>
                  <a:lnTo>
                    <a:pt x="4578" y="3488"/>
                  </a:lnTo>
                  <a:lnTo>
                    <a:pt x="5232" y="3488"/>
                  </a:lnTo>
                  <a:lnTo>
                    <a:pt x="5885" y="3488"/>
                  </a:lnTo>
                  <a:lnTo>
                    <a:pt x="6539" y="3488"/>
                  </a:lnTo>
                  <a:lnTo>
                    <a:pt x="7193" y="3488"/>
                  </a:lnTo>
                  <a:lnTo>
                    <a:pt x="7848" y="3488"/>
                  </a:lnTo>
                  <a:lnTo>
                    <a:pt x="8501" y="3488"/>
                  </a:lnTo>
                  <a:lnTo>
                    <a:pt x="9155" y="3488"/>
                  </a:lnTo>
                  <a:lnTo>
                    <a:pt x="9809" y="3488"/>
                  </a:lnTo>
                  <a:lnTo>
                    <a:pt x="10464" y="3488"/>
                  </a:lnTo>
                  <a:lnTo>
                    <a:pt x="10464" y="2616"/>
                  </a:lnTo>
                  <a:lnTo>
                    <a:pt x="10464" y="1744"/>
                  </a:lnTo>
                  <a:lnTo>
                    <a:pt x="10464" y="872"/>
                  </a:lnTo>
                  <a:lnTo>
                    <a:pt x="10464" y="0"/>
                  </a:lnTo>
                  <a:lnTo>
                    <a:pt x="9809" y="0"/>
                  </a:lnTo>
                  <a:lnTo>
                    <a:pt x="9155" y="0"/>
                  </a:lnTo>
                  <a:lnTo>
                    <a:pt x="8501" y="0"/>
                  </a:lnTo>
                  <a:lnTo>
                    <a:pt x="7848" y="0"/>
                  </a:lnTo>
                  <a:lnTo>
                    <a:pt x="7193" y="0"/>
                  </a:lnTo>
                  <a:lnTo>
                    <a:pt x="6539" y="0"/>
                  </a:lnTo>
                  <a:lnTo>
                    <a:pt x="5885" y="0"/>
                  </a:lnTo>
                  <a:lnTo>
                    <a:pt x="5232" y="0"/>
                  </a:lnTo>
                  <a:lnTo>
                    <a:pt x="4578" y="0"/>
                  </a:lnTo>
                  <a:lnTo>
                    <a:pt x="3923" y="0"/>
                  </a:lnTo>
                  <a:lnTo>
                    <a:pt x="3269" y="0"/>
                  </a:lnTo>
                  <a:lnTo>
                    <a:pt x="2616" y="0"/>
                  </a:lnTo>
                  <a:lnTo>
                    <a:pt x="1962" y="0"/>
                  </a:lnTo>
                  <a:lnTo>
                    <a:pt x="1307" y="0"/>
                  </a:lnTo>
                  <a:lnTo>
                    <a:pt x="653" y="0"/>
                  </a:lnTo>
                  <a:lnTo>
                    <a:pt x="0" y="0"/>
                  </a:lnTo>
                  <a:lnTo>
                    <a:pt x="0" y="872"/>
                  </a:lnTo>
                  <a:lnTo>
                    <a:pt x="0" y="1744"/>
                  </a:lnTo>
                  <a:lnTo>
                    <a:pt x="0" y="2616"/>
                  </a:lnTo>
                  <a:lnTo>
                    <a:pt x="0" y="348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8" name="Freeform 7"/>
            <p:cNvSpPr>
              <a:spLocks noEditPoints="1"/>
            </p:cNvSpPr>
            <p:nvPr userDrawn="1"/>
          </p:nvSpPr>
          <p:spPr bwMode="auto">
            <a:xfrm>
              <a:off x="10419386" y="6306922"/>
              <a:ext cx="1218166" cy="286381"/>
            </a:xfrm>
            <a:custGeom>
              <a:avLst/>
              <a:gdLst>
                <a:gd name="T0" fmla="*/ 3454 w 8720"/>
                <a:gd name="T1" fmla="*/ 1049 h 2050"/>
                <a:gd name="T2" fmla="*/ 3166 w 8720"/>
                <a:gd name="T3" fmla="*/ 1051 h 2050"/>
                <a:gd name="T4" fmla="*/ 3068 w 8720"/>
                <a:gd name="T5" fmla="*/ 1409 h 2050"/>
                <a:gd name="T6" fmla="*/ 3261 w 8720"/>
                <a:gd name="T7" fmla="*/ 1675 h 2050"/>
                <a:gd name="T8" fmla="*/ 3519 w 8720"/>
                <a:gd name="T9" fmla="*/ 1539 h 2050"/>
                <a:gd name="T10" fmla="*/ 3863 w 8720"/>
                <a:gd name="T11" fmla="*/ 1565 h 2050"/>
                <a:gd name="T12" fmla="*/ 3603 w 8720"/>
                <a:gd name="T13" fmla="*/ 1898 h 2050"/>
                <a:gd name="T14" fmla="*/ 3188 w 8720"/>
                <a:gd name="T15" fmla="*/ 1959 h 2050"/>
                <a:gd name="T16" fmla="*/ 2786 w 8720"/>
                <a:gd name="T17" fmla="*/ 1655 h 2050"/>
                <a:gd name="T18" fmla="*/ 2732 w 8720"/>
                <a:gd name="T19" fmla="*/ 1207 h 2050"/>
                <a:gd name="T20" fmla="*/ 3018 w 8720"/>
                <a:gd name="T21" fmla="*/ 786 h 2050"/>
                <a:gd name="T22" fmla="*/ 3503 w 8720"/>
                <a:gd name="T23" fmla="*/ 740 h 2050"/>
                <a:gd name="T24" fmla="*/ 3857 w 8720"/>
                <a:gd name="T25" fmla="*/ 1088 h 2050"/>
                <a:gd name="T26" fmla="*/ 4586 w 8720"/>
                <a:gd name="T27" fmla="*/ 1045 h 2050"/>
                <a:gd name="T28" fmla="*/ 4361 w 8720"/>
                <a:gd name="T29" fmla="*/ 1327 h 2050"/>
                <a:gd name="T30" fmla="*/ 4391 w 8720"/>
                <a:gd name="T31" fmla="*/ 895 h 2050"/>
                <a:gd name="T32" fmla="*/ 4703 w 8720"/>
                <a:gd name="T33" fmla="*/ 728 h 2050"/>
                <a:gd name="T34" fmla="*/ 5384 w 8720"/>
                <a:gd name="T35" fmla="*/ 1679 h 2050"/>
                <a:gd name="T36" fmla="*/ 5258 w 8720"/>
                <a:gd name="T37" fmla="*/ 1026 h 2050"/>
                <a:gd name="T38" fmla="*/ 4962 w 8720"/>
                <a:gd name="T39" fmla="*/ 1758 h 2050"/>
                <a:gd name="T40" fmla="*/ 5374 w 8720"/>
                <a:gd name="T41" fmla="*/ 1960 h 2050"/>
                <a:gd name="T42" fmla="*/ 6441 w 8720"/>
                <a:gd name="T43" fmla="*/ 1538 h 2050"/>
                <a:gd name="T44" fmla="*/ 6231 w 8720"/>
                <a:gd name="T45" fmla="*/ 1676 h 2050"/>
                <a:gd name="T46" fmla="*/ 6056 w 8720"/>
                <a:gd name="T47" fmla="*/ 1487 h 2050"/>
                <a:gd name="T48" fmla="*/ 5746 w 8720"/>
                <a:gd name="T49" fmla="*/ 1671 h 2050"/>
                <a:gd name="T50" fmla="*/ 5949 w 8720"/>
                <a:gd name="T51" fmla="*/ 1899 h 2050"/>
                <a:gd name="T52" fmla="*/ 6505 w 8720"/>
                <a:gd name="T53" fmla="*/ 1921 h 2050"/>
                <a:gd name="T54" fmla="*/ 6769 w 8720"/>
                <a:gd name="T55" fmla="*/ 1628 h 2050"/>
                <a:gd name="T56" fmla="*/ 8698 w 8720"/>
                <a:gd name="T57" fmla="*/ 985 h 2050"/>
                <a:gd name="T58" fmla="*/ 8484 w 8720"/>
                <a:gd name="T59" fmla="*/ 747 h 2050"/>
                <a:gd name="T60" fmla="*/ 8083 w 8720"/>
                <a:gd name="T61" fmla="*/ 806 h 2050"/>
                <a:gd name="T62" fmla="*/ 7885 w 8720"/>
                <a:gd name="T63" fmla="*/ 840 h 2050"/>
                <a:gd name="T64" fmla="*/ 7630 w 8720"/>
                <a:gd name="T65" fmla="*/ 721 h 2050"/>
                <a:gd name="T66" fmla="*/ 7324 w 8720"/>
                <a:gd name="T67" fmla="*/ 871 h 2050"/>
                <a:gd name="T68" fmla="*/ 7270 w 8720"/>
                <a:gd name="T69" fmla="*/ 1283 h 2050"/>
                <a:gd name="T70" fmla="*/ 7447 w 8720"/>
                <a:gd name="T71" fmla="*/ 1034 h 2050"/>
                <a:gd name="T72" fmla="*/ 7645 w 8720"/>
                <a:gd name="T73" fmla="*/ 1211 h 2050"/>
                <a:gd name="T74" fmla="*/ 8034 w 8720"/>
                <a:gd name="T75" fmla="*/ 1138 h 2050"/>
                <a:gd name="T76" fmla="*/ 8289 w 8720"/>
                <a:gd name="T77" fmla="*/ 1046 h 2050"/>
                <a:gd name="T78" fmla="*/ 8377 w 8720"/>
                <a:gd name="T79" fmla="*/ 1938 h 2050"/>
                <a:gd name="T80" fmla="*/ 2458 w 8720"/>
                <a:gd name="T81" fmla="*/ 483 h 2050"/>
                <a:gd name="T82" fmla="*/ 2107 w 8720"/>
                <a:gd name="T83" fmla="*/ 1483 h 2050"/>
                <a:gd name="T84" fmla="*/ 2152 w 8720"/>
                <a:gd name="T85" fmla="*/ 299 h 2050"/>
                <a:gd name="T86" fmla="*/ 2419 w 8720"/>
                <a:gd name="T87" fmla="*/ 83 h 2050"/>
                <a:gd name="T88" fmla="*/ 2622 w 8720"/>
                <a:gd name="T89" fmla="*/ 369 h 2050"/>
                <a:gd name="T90" fmla="*/ 1130 w 8720"/>
                <a:gd name="T91" fmla="*/ 2050 h 2050"/>
                <a:gd name="T92" fmla="*/ 570 w 8720"/>
                <a:gd name="T93" fmla="*/ 1915 h 2050"/>
                <a:gd name="T94" fmla="*/ 120 w 8720"/>
                <a:gd name="T95" fmla="*/ 1452 h 2050"/>
                <a:gd name="T96" fmla="*/ 8 w 8720"/>
                <a:gd name="T97" fmla="*/ 822 h 2050"/>
                <a:gd name="T98" fmla="*/ 222 w 8720"/>
                <a:gd name="T99" fmla="*/ 289 h 2050"/>
                <a:gd name="T100" fmla="*/ 690 w 8720"/>
                <a:gd name="T101" fmla="*/ 389 h 2050"/>
                <a:gd name="T102" fmla="*/ 424 w 8720"/>
                <a:gd name="T103" fmla="*/ 782 h 2050"/>
                <a:gd name="T104" fmla="*/ 460 w 8720"/>
                <a:gd name="T105" fmla="*/ 1242 h 2050"/>
                <a:gd name="T106" fmla="*/ 783 w 8720"/>
                <a:gd name="T107" fmla="*/ 1573 h 2050"/>
                <a:gd name="T108" fmla="*/ 1246 w 8720"/>
                <a:gd name="T109" fmla="*/ 1632 h 2050"/>
                <a:gd name="T110" fmla="*/ 745 w 8720"/>
                <a:gd name="T111" fmla="*/ 1453 h 2050"/>
                <a:gd name="T112" fmla="*/ 1347 w 8720"/>
                <a:gd name="T113" fmla="*/ 1509 h 2050"/>
                <a:gd name="T114" fmla="*/ 1693 w 8720"/>
                <a:gd name="T115" fmla="*/ 1099 h 2050"/>
                <a:gd name="T116" fmla="*/ 1523 w 8720"/>
                <a:gd name="T117" fmla="*/ 505 h 2050"/>
                <a:gd name="T118" fmla="*/ 1152 w 8720"/>
                <a:gd name="T119" fmla="*/ 342 h 2050"/>
                <a:gd name="T120" fmla="*/ 691 w 8720"/>
                <a:gd name="T121" fmla="*/ 497 h 2050"/>
                <a:gd name="T122" fmla="*/ 491 w 8720"/>
                <a:gd name="T123" fmla="*/ 1037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720" h="2050">
                  <a:moveTo>
                    <a:pt x="3554" y="1338"/>
                  </a:moveTo>
                  <a:lnTo>
                    <a:pt x="3553" y="1299"/>
                  </a:lnTo>
                  <a:lnTo>
                    <a:pt x="3550" y="1263"/>
                  </a:lnTo>
                  <a:lnTo>
                    <a:pt x="3546" y="1228"/>
                  </a:lnTo>
                  <a:lnTo>
                    <a:pt x="3538" y="1196"/>
                  </a:lnTo>
                  <a:lnTo>
                    <a:pt x="3529" y="1165"/>
                  </a:lnTo>
                  <a:lnTo>
                    <a:pt x="3518" y="1137"/>
                  </a:lnTo>
                  <a:lnTo>
                    <a:pt x="3511" y="1124"/>
                  </a:lnTo>
                  <a:lnTo>
                    <a:pt x="3504" y="1112"/>
                  </a:lnTo>
                  <a:lnTo>
                    <a:pt x="3490" y="1088"/>
                  </a:lnTo>
                  <a:lnTo>
                    <a:pt x="3473" y="1068"/>
                  </a:lnTo>
                  <a:lnTo>
                    <a:pt x="3454" y="1049"/>
                  </a:lnTo>
                  <a:lnTo>
                    <a:pt x="3436" y="1034"/>
                  </a:lnTo>
                  <a:lnTo>
                    <a:pt x="3413" y="1022"/>
                  </a:lnTo>
                  <a:lnTo>
                    <a:pt x="3390" y="1012"/>
                  </a:lnTo>
                  <a:lnTo>
                    <a:pt x="3366" y="1004"/>
                  </a:lnTo>
                  <a:lnTo>
                    <a:pt x="3339" y="1000"/>
                  </a:lnTo>
                  <a:lnTo>
                    <a:pt x="3311" y="998"/>
                  </a:lnTo>
                  <a:lnTo>
                    <a:pt x="3283" y="1000"/>
                  </a:lnTo>
                  <a:lnTo>
                    <a:pt x="3257" y="1004"/>
                  </a:lnTo>
                  <a:lnTo>
                    <a:pt x="3232" y="1012"/>
                  </a:lnTo>
                  <a:lnTo>
                    <a:pt x="3209" y="1022"/>
                  </a:lnTo>
                  <a:lnTo>
                    <a:pt x="3187" y="1035"/>
                  </a:lnTo>
                  <a:lnTo>
                    <a:pt x="3166" y="1051"/>
                  </a:lnTo>
                  <a:lnTo>
                    <a:pt x="3148" y="1069"/>
                  </a:lnTo>
                  <a:lnTo>
                    <a:pt x="3130" y="1091"/>
                  </a:lnTo>
                  <a:lnTo>
                    <a:pt x="3116" y="1114"/>
                  </a:lnTo>
                  <a:lnTo>
                    <a:pt x="3102" y="1139"/>
                  </a:lnTo>
                  <a:lnTo>
                    <a:pt x="3090" y="1167"/>
                  </a:lnTo>
                  <a:lnTo>
                    <a:pt x="3081" y="1197"/>
                  </a:lnTo>
                  <a:lnTo>
                    <a:pt x="3073" y="1228"/>
                  </a:lnTo>
                  <a:lnTo>
                    <a:pt x="3068" y="1263"/>
                  </a:lnTo>
                  <a:lnTo>
                    <a:pt x="3065" y="1298"/>
                  </a:lnTo>
                  <a:lnTo>
                    <a:pt x="3063" y="1336"/>
                  </a:lnTo>
                  <a:lnTo>
                    <a:pt x="3065" y="1374"/>
                  </a:lnTo>
                  <a:lnTo>
                    <a:pt x="3068" y="1409"/>
                  </a:lnTo>
                  <a:lnTo>
                    <a:pt x="3073" y="1444"/>
                  </a:lnTo>
                  <a:lnTo>
                    <a:pt x="3081" y="1477"/>
                  </a:lnTo>
                  <a:lnTo>
                    <a:pt x="3091" y="1507"/>
                  </a:lnTo>
                  <a:lnTo>
                    <a:pt x="3102" y="1536"/>
                  </a:lnTo>
                  <a:lnTo>
                    <a:pt x="3117" y="1562"/>
                  </a:lnTo>
                  <a:lnTo>
                    <a:pt x="3132" y="1586"/>
                  </a:lnTo>
                  <a:lnTo>
                    <a:pt x="3149" y="1607"/>
                  </a:lnTo>
                  <a:lnTo>
                    <a:pt x="3169" y="1626"/>
                  </a:lnTo>
                  <a:lnTo>
                    <a:pt x="3189" y="1643"/>
                  </a:lnTo>
                  <a:lnTo>
                    <a:pt x="3211" y="1656"/>
                  </a:lnTo>
                  <a:lnTo>
                    <a:pt x="3236" y="1667"/>
                  </a:lnTo>
                  <a:lnTo>
                    <a:pt x="3261" y="1675"/>
                  </a:lnTo>
                  <a:lnTo>
                    <a:pt x="3288" y="1679"/>
                  </a:lnTo>
                  <a:lnTo>
                    <a:pt x="3317" y="1680"/>
                  </a:lnTo>
                  <a:lnTo>
                    <a:pt x="3343" y="1679"/>
                  </a:lnTo>
                  <a:lnTo>
                    <a:pt x="3369" y="1675"/>
                  </a:lnTo>
                  <a:lnTo>
                    <a:pt x="3393" y="1667"/>
                  </a:lnTo>
                  <a:lnTo>
                    <a:pt x="3417" y="1657"/>
                  </a:lnTo>
                  <a:lnTo>
                    <a:pt x="3438" y="1644"/>
                  </a:lnTo>
                  <a:lnTo>
                    <a:pt x="3458" y="1628"/>
                  </a:lnTo>
                  <a:lnTo>
                    <a:pt x="3476" y="1609"/>
                  </a:lnTo>
                  <a:lnTo>
                    <a:pt x="3491" y="1588"/>
                  </a:lnTo>
                  <a:lnTo>
                    <a:pt x="3506" y="1565"/>
                  </a:lnTo>
                  <a:lnTo>
                    <a:pt x="3519" y="1539"/>
                  </a:lnTo>
                  <a:lnTo>
                    <a:pt x="3529" y="1512"/>
                  </a:lnTo>
                  <a:lnTo>
                    <a:pt x="3538" y="1480"/>
                  </a:lnTo>
                  <a:lnTo>
                    <a:pt x="3546" y="1448"/>
                  </a:lnTo>
                  <a:lnTo>
                    <a:pt x="3550" y="1414"/>
                  </a:lnTo>
                  <a:lnTo>
                    <a:pt x="3553" y="1377"/>
                  </a:lnTo>
                  <a:lnTo>
                    <a:pt x="3554" y="1338"/>
                  </a:lnTo>
                  <a:close/>
                  <a:moveTo>
                    <a:pt x="3897" y="1340"/>
                  </a:moveTo>
                  <a:lnTo>
                    <a:pt x="3893" y="1408"/>
                  </a:lnTo>
                  <a:lnTo>
                    <a:pt x="3885" y="1474"/>
                  </a:lnTo>
                  <a:lnTo>
                    <a:pt x="3880" y="1505"/>
                  </a:lnTo>
                  <a:lnTo>
                    <a:pt x="3872" y="1536"/>
                  </a:lnTo>
                  <a:lnTo>
                    <a:pt x="3863" y="1565"/>
                  </a:lnTo>
                  <a:lnTo>
                    <a:pt x="3853" y="1595"/>
                  </a:lnTo>
                  <a:lnTo>
                    <a:pt x="3843" y="1623"/>
                  </a:lnTo>
                  <a:lnTo>
                    <a:pt x="3831" y="1649"/>
                  </a:lnTo>
                  <a:lnTo>
                    <a:pt x="3803" y="1701"/>
                  </a:lnTo>
                  <a:lnTo>
                    <a:pt x="3771" y="1749"/>
                  </a:lnTo>
                  <a:lnTo>
                    <a:pt x="3753" y="1773"/>
                  </a:lnTo>
                  <a:lnTo>
                    <a:pt x="3734" y="1794"/>
                  </a:lnTo>
                  <a:lnTo>
                    <a:pt x="3716" y="1814"/>
                  </a:lnTo>
                  <a:lnTo>
                    <a:pt x="3694" y="1834"/>
                  </a:lnTo>
                  <a:lnTo>
                    <a:pt x="3650" y="1868"/>
                  </a:lnTo>
                  <a:lnTo>
                    <a:pt x="3627" y="1884"/>
                  </a:lnTo>
                  <a:lnTo>
                    <a:pt x="3603" y="1898"/>
                  </a:lnTo>
                  <a:lnTo>
                    <a:pt x="3552" y="1924"/>
                  </a:lnTo>
                  <a:lnTo>
                    <a:pt x="3526" y="1935"/>
                  </a:lnTo>
                  <a:lnTo>
                    <a:pt x="3498" y="1944"/>
                  </a:lnTo>
                  <a:lnTo>
                    <a:pt x="3470" y="1951"/>
                  </a:lnTo>
                  <a:lnTo>
                    <a:pt x="3441" y="1958"/>
                  </a:lnTo>
                  <a:lnTo>
                    <a:pt x="3411" y="1964"/>
                  </a:lnTo>
                  <a:lnTo>
                    <a:pt x="3381" y="1967"/>
                  </a:lnTo>
                  <a:lnTo>
                    <a:pt x="3319" y="1970"/>
                  </a:lnTo>
                  <a:lnTo>
                    <a:pt x="3285" y="1969"/>
                  </a:lnTo>
                  <a:lnTo>
                    <a:pt x="3252" y="1967"/>
                  </a:lnTo>
                  <a:lnTo>
                    <a:pt x="3220" y="1964"/>
                  </a:lnTo>
                  <a:lnTo>
                    <a:pt x="3188" y="1959"/>
                  </a:lnTo>
                  <a:lnTo>
                    <a:pt x="3158" y="1953"/>
                  </a:lnTo>
                  <a:lnTo>
                    <a:pt x="3128" y="1945"/>
                  </a:lnTo>
                  <a:lnTo>
                    <a:pt x="3071" y="1926"/>
                  </a:lnTo>
                  <a:lnTo>
                    <a:pt x="3018" y="1901"/>
                  </a:lnTo>
                  <a:lnTo>
                    <a:pt x="2993" y="1887"/>
                  </a:lnTo>
                  <a:lnTo>
                    <a:pt x="2969" y="1871"/>
                  </a:lnTo>
                  <a:lnTo>
                    <a:pt x="2924" y="1837"/>
                  </a:lnTo>
                  <a:lnTo>
                    <a:pt x="2882" y="1798"/>
                  </a:lnTo>
                  <a:lnTo>
                    <a:pt x="2864" y="1777"/>
                  </a:lnTo>
                  <a:lnTo>
                    <a:pt x="2846" y="1755"/>
                  </a:lnTo>
                  <a:lnTo>
                    <a:pt x="2814" y="1707"/>
                  </a:lnTo>
                  <a:lnTo>
                    <a:pt x="2786" y="1655"/>
                  </a:lnTo>
                  <a:lnTo>
                    <a:pt x="2775" y="1627"/>
                  </a:lnTo>
                  <a:lnTo>
                    <a:pt x="2764" y="1598"/>
                  </a:lnTo>
                  <a:lnTo>
                    <a:pt x="2754" y="1569"/>
                  </a:lnTo>
                  <a:lnTo>
                    <a:pt x="2746" y="1538"/>
                  </a:lnTo>
                  <a:lnTo>
                    <a:pt x="2738" y="1507"/>
                  </a:lnTo>
                  <a:lnTo>
                    <a:pt x="2732" y="1474"/>
                  </a:lnTo>
                  <a:lnTo>
                    <a:pt x="2728" y="1440"/>
                  </a:lnTo>
                  <a:lnTo>
                    <a:pt x="2725" y="1407"/>
                  </a:lnTo>
                  <a:lnTo>
                    <a:pt x="2722" y="1372"/>
                  </a:lnTo>
                  <a:lnTo>
                    <a:pt x="2721" y="1336"/>
                  </a:lnTo>
                  <a:lnTo>
                    <a:pt x="2725" y="1271"/>
                  </a:lnTo>
                  <a:lnTo>
                    <a:pt x="2732" y="1207"/>
                  </a:lnTo>
                  <a:lnTo>
                    <a:pt x="2738" y="1177"/>
                  </a:lnTo>
                  <a:lnTo>
                    <a:pt x="2746" y="1147"/>
                  </a:lnTo>
                  <a:lnTo>
                    <a:pt x="2764" y="1089"/>
                  </a:lnTo>
                  <a:lnTo>
                    <a:pt x="2775" y="1062"/>
                  </a:lnTo>
                  <a:lnTo>
                    <a:pt x="2787" y="1035"/>
                  </a:lnTo>
                  <a:lnTo>
                    <a:pt x="2815" y="983"/>
                  </a:lnTo>
                  <a:lnTo>
                    <a:pt x="2847" y="936"/>
                  </a:lnTo>
                  <a:lnTo>
                    <a:pt x="2865" y="913"/>
                  </a:lnTo>
                  <a:lnTo>
                    <a:pt x="2884" y="892"/>
                  </a:lnTo>
                  <a:lnTo>
                    <a:pt x="2925" y="852"/>
                  </a:lnTo>
                  <a:lnTo>
                    <a:pt x="2969" y="817"/>
                  </a:lnTo>
                  <a:lnTo>
                    <a:pt x="3018" y="786"/>
                  </a:lnTo>
                  <a:lnTo>
                    <a:pt x="3070" y="761"/>
                  </a:lnTo>
                  <a:lnTo>
                    <a:pt x="3098" y="750"/>
                  </a:lnTo>
                  <a:lnTo>
                    <a:pt x="3126" y="741"/>
                  </a:lnTo>
                  <a:lnTo>
                    <a:pt x="3155" y="732"/>
                  </a:lnTo>
                  <a:lnTo>
                    <a:pt x="3185" y="725"/>
                  </a:lnTo>
                  <a:lnTo>
                    <a:pt x="3216" y="721"/>
                  </a:lnTo>
                  <a:lnTo>
                    <a:pt x="3247" y="716"/>
                  </a:lnTo>
                  <a:lnTo>
                    <a:pt x="3311" y="713"/>
                  </a:lnTo>
                  <a:lnTo>
                    <a:pt x="3379" y="716"/>
                  </a:lnTo>
                  <a:lnTo>
                    <a:pt x="3411" y="720"/>
                  </a:lnTo>
                  <a:lnTo>
                    <a:pt x="3443" y="725"/>
                  </a:lnTo>
                  <a:lnTo>
                    <a:pt x="3503" y="740"/>
                  </a:lnTo>
                  <a:lnTo>
                    <a:pt x="3559" y="760"/>
                  </a:lnTo>
                  <a:lnTo>
                    <a:pt x="3586" y="772"/>
                  </a:lnTo>
                  <a:lnTo>
                    <a:pt x="3611" y="785"/>
                  </a:lnTo>
                  <a:lnTo>
                    <a:pt x="3636" y="800"/>
                  </a:lnTo>
                  <a:lnTo>
                    <a:pt x="3660" y="815"/>
                  </a:lnTo>
                  <a:lnTo>
                    <a:pt x="3703" y="851"/>
                  </a:lnTo>
                  <a:lnTo>
                    <a:pt x="3723" y="870"/>
                  </a:lnTo>
                  <a:lnTo>
                    <a:pt x="3743" y="890"/>
                  </a:lnTo>
                  <a:lnTo>
                    <a:pt x="3778" y="934"/>
                  </a:lnTo>
                  <a:lnTo>
                    <a:pt x="3809" y="982"/>
                  </a:lnTo>
                  <a:lnTo>
                    <a:pt x="3835" y="1033"/>
                  </a:lnTo>
                  <a:lnTo>
                    <a:pt x="3857" y="1088"/>
                  </a:lnTo>
                  <a:lnTo>
                    <a:pt x="3867" y="1117"/>
                  </a:lnTo>
                  <a:lnTo>
                    <a:pt x="3874" y="1147"/>
                  </a:lnTo>
                  <a:lnTo>
                    <a:pt x="3887" y="1208"/>
                  </a:lnTo>
                  <a:lnTo>
                    <a:pt x="3894" y="1273"/>
                  </a:lnTo>
                  <a:lnTo>
                    <a:pt x="3897" y="1340"/>
                  </a:lnTo>
                  <a:close/>
                  <a:moveTo>
                    <a:pt x="4810" y="1073"/>
                  </a:moveTo>
                  <a:lnTo>
                    <a:pt x="4769" y="1056"/>
                  </a:lnTo>
                  <a:lnTo>
                    <a:pt x="4732" y="1045"/>
                  </a:lnTo>
                  <a:lnTo>
                    <a:pt x="4694" y="1039"/>
                  </a:lnTo>
                  <a:lnTo>
                    <a:pt x="4653" y="1038"/>
                  </a:lnTo>
                  <a:lnTo>
                    <a:pt x="4619" y="1039"/>
                  </a:lnTo>
                  <a:lnTo>
                    <a:pt x="4586" y="1045"/>
                  </a:lnTo>
                  <a:lnTo>
                    <a:pt x="4555" y="1053"/>
                  </a:lnTo>
                  <a:lnTo>
                    <a:pt x="4526" y="1064"/>
                  </a:lnTo>
                  <a:lnTo>
                    <a:pt x="4501" y="1078"/>
                  </a:lnTo>
                  <a:lnTo>
                    <a:pt x="4476" y="1095"/>
                  </a:lnTo>
                  <a:lnTo>
                    <a:pt x="4453" y="1115"/>
                  </a:lnTo>
                  <a:lnTo>
                    <a:pt x="4433" y="1137"/>
                  </a:lnTo>
                  <a:lnTo>
                    <a:pt x="4415" y="1163"/>
                  </a:lnTo>
                  <a:lnTo>
                    <a:pt x="4400" y="1191"/>
                  </a:lnTo>
                  <a:lnTo>
                    <a:pt x="4386" y="1222"/>
                  </a:lnTo>
                  <a:lnTo>
                    <a:pt x="4375" y="1254"/>
                  </a:lnTo>
                  <a:lnTo>
                    <a:pt x="4366" y="1289"/>
                  </a:lnTo>
                  <a:lnTo>
                    <a:pt x="4361" y="1327"/>
                  </a:lnTo>
                  <a:lnTo>
                    <a:pt x="4356" y="1367"/>
                  </a:lnTo>
                  <a:lnTo>
                    <a:pt x="4355" y="1408"/>
                  </a:lnTo>
                  <a:lnTo>
                    <a:pt x="4355" y="1938"/>
                  </a:lnTo>
                  <a:lnTo>
                    <a:pt x="4017" y="1938"/>
                  </a:lnTo>
                  <a:lnTo>
                    <a:pt x="4017" y="1342"/>
                  </a:lnTo>
                  <a:lnTo>
                    <a:pt x="4017" y="746"/>
                  </a:lnTo>
                  <a:lnTo>
                    <a:pt x="4343" y="746"/>
                  </a:lnTo>
                  <a:lnTo>
                    <a:pt x="4343" y="1017"/>
                  </a:lnTo>
                  <a:lnTo>
                    <a:pt x="4352" y="984"/>
                  </a:lnTo>
                  <a:lnTo>
                    <a:pt x="4363" y="953"/>
                  </a:lnTo>
                  <a:lnTo>
                    <a:pt x="4375" y="923"/>
                  </a:lnTo>
                  <a:lnTo>
                    <a:pt x="4391" y="895"/>
                  </a:lnTo>
                  <a:lnTo>
                    <a:pt x="4408" y="870"/>
                  </a:lnTo>
                  <a:lnTo>
                    <a:pt x="4425" y="846"/>
                  </a:lnTo>
                  <a:lnTo>
                    <a:pt x="4446" y="824"/>
                  </a:lnTo>
                  <a:lnTo>
                    <a:pt x="4468" y="805"/>
                  </a:lnTo>
                  <a:lnTo>
                    <a:pt x="4492" y="787"/>
                  </a:lnTo>
                  <a:lnTo>
                    <a:pt x="4517" y="772"/>
                  </a:lnTo>
                  <a:lnTo>
                    <a:pt x="4544" y="758"/>
                  </a:lnTo>
                  <a:lnTo>
                    <a:pt x="4573" y="748"/>
                  </a:lnTo>
                  <a:lnTo>
                    <a:pt x="4603" y="740"/>
                  </a:lnTo>
                  <a:lnTo>
                    <a:pt x="4635" y="734"/>
                  </a:lnTo>
                  <a:lnTo>
                    <a:pt x="4669" y="730"/>
                  </a:lnTo>
                  <a:lnTo>
                    <a:pt x="4703" y="728"/>
                  </a:lnTo>
                  <a:lnTo>
                    <a:pt x="4753" y="732"/>
                  </a:lnTo>
                  <a:lnTo>
                    <a:pt x="4810" y="741"/>
                  </a:lnTo>
                  <a:lnTo>
                    <a:pt x="4810" y="1073"/>
                  </a:lnTo>
                  <a:close/>
                  <a:moveTo>
                    <a:pt x="5598" y="1938"/>
                  </a:moveTo>
                  <a:lnTo>
                    <a:pt x="5598" y="1670"/>
                  </a:lnTo>
                  <a:lnTo>
                    <a:pt x="5561" y="1678"/>
                  </a:lnTo>
                  <a:lnTo>
                    <a:pt x="5526" y="1683"/>
                  </a:lnTo>
                  <a:lnTo>
                    <a:pt x="5494" y="1685"/>
                  </a:lnTo>
                  <a:lnTo>
                    <a:pt x="5458" y="1686"/>
                  </a:lnTo>
                  <a:lnTo>
                    <a:pt x="5432" y="1685"/>
                  </a:lnTo>
                  <a:lnTo>
                    <a:pt x="5406" y="1683"/>
                  </a:lnTo>
                  <a:lnTo>
                    <a:pt x="5384" y="1679"/>
                  </a:lnTo>
                  <a:lnTo>
                    <a:pt x="5364" y="1674"/>
                  </a:lnTo>
                  <a:lnTo>
                    <a:pt x="5345" y="1667"/>
                  </a:lnTo>
                  <a:lnTo>
                    <a:pt x="5328" y="1658"/>
                  </a:lnTo>
                  <a:lnTo>
                    <a:pt x="5314" y="1648"/>
                  </a:lnTo>
                  <a:lnTo>
                    <a:pt x="5302" y="1636"/>
                  </a:lnTo>
                  <a:lnTo>
                    <a:pt x="5292" y="1622"/>
                  </a:lnTo>
                  <a:lnTo>
                    <a:pt x="5282" y="1605"/>
                  </a:lnTo>
                  <a:lnTo>
                    <a:pt x="5275" y="1587"/>
                  </a:lnTo>
                  <a:lnTo>
                    <a:pt x="5268" y="1566"/>
                  </a:lnTo>
                  <a:lnTo>
                    <a:pt x="5262" y="1517"/>
                  </a:lnTo>
                  <a:lnTo>
                    <a:pt x="5258" y="1459"/>
                  </a:lnTo>
                  <a:lnTo>
                    <a:pt x="5258" y="1026"/>
                  </a:lnTo>
                  <a:lnTo>
                    <a:pt x="5583" y="1026"/>
                  </a:lnTo>
                  <a:lnTo>
                    <a:pt x="5583" y="755"/>
                  </a:lnTo>
                  <a:lnTo>
                    <a:pt x="5258" y="755"/>
                  </a:lnTo>
                  <a:lnTo>
                    <a:pt x="5258" y="365"/>
                  </a:lnTo>
                  <a:lnTo>
                    <a:pt x="4920" y="556"/>
                  </a:lnTo>
                  <a:lnTo>
                    <a:pt x="4920" y="1037"/>
                  </a:lnTo>
                  <a:lnTo>
                    <a:pt x="4920" y="1519"/>
                  </a:lnTo>
                  <a:lnTo>
                    <a:pt x="4921" y="1575"/>
                  </a:lnTo>
                  <a:lnTo>
                    <a:pt x="4926" y="1627"/>
                  </a:lnTo>
                  <a:lnTo>
                    <a:pt x="4935" y="1674"/>
                  </a:lnTo>
                  <a:lnTo>
                    <a:pt x="4946" y="1718"/>
                  </a:lnTo>
                  <a:lnTo>
                    <a:pt x="4962" y="1758"/>
                  </a:lnTo>
                  <a:lnTo>
                    <a:pt x="4981" y="1794"/>
                  </a:lnTo>
                  <a:lnTo>
                    <a:pt x="5003" y="1826"/>
                  </a:lnTo>
                  <a:lnTo>
                    <a:pt x="5030" y="1855"/>
                  </a:lnTo>
                  <a:lnTo>
                    <a:pt x="5044" y="1868"/>
                  </a:lnTo>
                  <a:lnTo>
                    <a:pt x="5060" y="1880"/>
                  </a:lnTo>
                  <a:lnTo>
                    <a:pt x="5093" y="1901"/>
                  </a:lnTo>
                  <a:lnTo>
                    <a:pt x="5130" y="1920"/>
                  </a:lnTo>
                  <a:lnTo>
                    <a:pt x="5171" y="1935"/>
                  </a:lnTo>
                  <a:lnTo>
                    <a:pt x="5216" y="1946"/>
                  </a:lnTo>
                  <a:lnTo>
                    <a:pt x="5265" y="1954"/>
                  </a:lnTo>
                  <a:lnTo>
                    <a:pt x="5317" y="1959"/>
                  </a:lnTo>
                  <a:lnTo>
                    <a:pt x="5374" y="1960"/>
                  </a:lnTo>
                  <a:lnTo>
                    <a:pt x="5431" y="1959"/>
                  </a:lnTo>
                  <a:lnTo>
                    <a:pt x="5484" y="1956"/>
                  </a:lnTo>
                  <a:lnTo>
                    <a:pt x="5538" y="1949"/>
                  </a:lnTo>
                  <a:lnTo>
                    <a:pt x="5598" y="1938"/>
                  </a:lnTo>
                  <a:close/>
                  <a:moveTo>
                    <a:pt x="6796" y="1358"/>
                  </a:moveTo>
                  <a:lnTo>
                    <a:pt x="6796" y="746"/>
                  </a:lnTo>
                  <a:lnTo>
                    <a:pt x="6457" y="746"/>
                  </a:lnTo>
                  <a:lnTo>
                    <a:pt x="6457" y="1358"/>
                  </a:lnTo>
                  <a:lnTo>
                    <a:pt x="6455" y="1440"/>
                  </a:lnTo>
                  <a:lnTo>
                    <a:pt x="6451" y="1476"/>
                  </a:lnTo>
                  <a:lnTo>
                    <a:pt x="6447" y="1508"/>
                  </a:lnTo>
                  <a:lnTo>
                    <a:pt x="6441" y="1538"/>
                  </a:lnTo>
                  <a:lnTo>
                    <a:pt x="6435" y="1564"/>
                  </a:lnTo>
                  <a:lnTo>
                    <a:pt x="6426" y="1587"/>
                  </a:lnTo>
                  <a:lnTo>
                    <a:pt x="6415" y="1607"/>
                  </a:lnTo>
                  <a:lnTo>
                    <a:pt x="6402" y="1624"/>
                  </a:lnTo>
                  <a:lnTo>
                    <a:pt x="6388" y="1639"/>
                  </a:lnTo>
                  <a:lnTo>
                    <a:pt x="6373" y="1650"/>
                  </a:lnTo>
                  <a:lnTo>
                    <a:pt x="6355" y="1660"/>
                  </a:lnTo>
                  <a:lnTo>
                    <a:pt x="6334" y="1668"/>
                  </a:lnTo>
                  <a:lnTo>
                    <a:pt x="6311" y="1673"/>
                  </a:lnTo>
                  <a:lnTo>
                    <a:pt x="6287" y="1676"/>
                  </a:lnTo>
                  <a:lnTo>
                    <a:pt x="6259" y="1677"/>
                  </a:lnTo>
                  <a:lnTo>
                    <a:pt x="6231" y="1676"/>
                  </a:lnTo>
                  <a:lnTo>
                    <a:pt x="6206" y="1673"/>
                  </a:lnTo>
                  <a:lnTo>
                    <a:pt x="6181" y="1668"/>
                  </a:lnTo>
                  <a:lnTo>
                    <a:pt x="6160" y="1660"/>
                  </a:lnTo>
                  <a:lnTo>
                    <a:pt x="6141" y="1652"/>
                  </a:lnTo>
                  <a:lnTo>
                    <a:pt x="6124" y="1640"/>
                  </a:lnTo>
                  <a:lnTo>
                    <a:pt x="6109" y="1626"/>
                  </a:lnTo>
                  <a:lnTo>
                    <a:pt x="6096" y="1609"/>
                  </a:lnTo>
                  <a:lnTo>
                    <a:pt x="6085" y="1590"/>
                  </a:lnTo>
                  <a:lnTo>
                    <a:pt x="6075" y="1569"/>
                  </a:lnTo>
                  <a:lnTo>
                    <a:pt x="6067" y="1545"/>
                  </a:lnTo>
                  <a:lnTo>
                    <a:pt x="6060" y="1517"/>
                  </a:lnTo>
                  <a:lnTo>
                    <a:pt x="6056" y="1487"/>
                  </a:lnTo>
                  <a:lnTo>
                    <a:pt x="6053" y="1454"/>
                  </a:lnTo>
                  <a:lnTo>
                    <a:pt x="6050" y="1417"/>
                  </a:lnTo>
                  <a:lnTo>
                    <a:pt x="6049" y="1378"/>
                  </a:lnTo>
                  <a:lnTo>
                    <a:pt x="6049" y="746"/>
                  </a:lnTo>
                  <a:lnTo>
                    <a:pt x="5710" y="746"/>
                  </a:lnTo>
                  <a:lnTo>
                    <a:pt x="5710" y="1373"/>
                  </a:lnTo>
                  <a:lnTo>
                    <a:pt x="5713" y="1465"/>
                  </a:lnTo>
                  <a:lnTo>
                    <a:pt x="5715" y="1505"/>
                  </a:lnTo>
                  <a:lnTo>
                    <a:pt x="5718" y="1544"/>
                  </a:lnTo>
                  <a:lnTo>
                    <a:pt x="5729" y="1612"/>
                  </a:lnTo>
                  <a:lnTo>
                    <a:pt x="5737" y="1643"/>
                  </a:lnTo>
                  <a:lnTo>
                    <a:pt x="5746" y="1671"/>
                  </a:lnTo>
                  <a:lnTo>
                    <a:pt x="5756" y="1698"/>
                  </a:lnTo>
                  <a:lnTo>
                    <a:pt x="5768" y="1723"/>
                  </a:lnTo>
                  <a:lnTo>
                    <a:pt x="5780" y="1747"/>
                  </a:lnTo>
                  <a:lnTo>
                    <a:pt x="5796" y="1769"/>
                  </a:lnTo>
                  <a:lnTo>
                    <a:pt x="5812" y="1790"/>
                  </a:lnTo>
                  <a:lnTo>
                    <a:pt x="5830" y="1810"/>
                  </a:lnTo>
                  <a:lnTo>
                    <a:pt x="5849" y="1829"/>
                  </a:lnTo>
                  <a:lnTo>
                    <a:pt x="5872" y="1848"/>
                  </a:lnTo>
                  <a:lnTo>
                    <a:pt x="5889" y="1863"/>
                  </a:lnTo>
                  <a:lnTo>
                    <a:pt x="5908" y="1876"/>
                  </a:lnTo>
                  <a:lnTo>
                    <a:pt x="5928" y="1888"/>
                  </a:lnTo>
                  <a:lnTo>
                    <a:pt x="5949" y="1899"/>
                  </a:lnTo>
                  <a:lnTo>
                    <a:pt x="5972" y="1909"/>
                  </a:lnTo>
                  <a:lnTo>
                    <a:pt x="5994" y="1919"/>
                  </a:lnTo>
                  <a:lnTo>
                    <a:pt x="6040" y="1936"/>
                  </a:lnTo>
                  <a:lnTo>
                    <a:pt x="6091" y="1949"/>
                  </a:lnTo>
                  <a:lnTo>
                    <a:pt x="6144" y="1958"/>
                  </a:lnTo>
                  <a:lnTo>
                    <a:pt x="6199" y="1964"/>
                  </a:lnTo>
                  <a:lnTo>
                    <a:pt x="6257" y="1966"/>
                  </a:lnTo>
                  <a:lnTo>
                    <a:pt x="6325" y="1963"/>
                  </a:lnTo>
                  <a:lnTo>
                    <a:pt x="6388" y="1955"/>
                  </a:lnTo>
                  <a:lnTo>
                    <a:pt x="6419" y="1948"/>
                  </a:lnTo>
                  <a:lnTo>
                    <a:pt x="6448" y="1940"/>
                  </a:lnTo>
                  <a:lnTo>
                    <a:pt x="6505" y="1921"/>
                  </a:lnTo>
                  <a:lnTo>
                    <a:pt x="6531" y="1910"/>
                  </a:lnTo>
                  <a:lnTo>
                    <a:pt x="6557" y="1898"/>
                  </a:lnTo>
                  <a:lnTo>
                    <a:pt x="6605" y="1869"/>
                  </a:lnTo>
                  <a:lnTo>
                    <a:pt x="6626" y="1853"/>
                  </a:lnTo>
                  <a:lnTo>
                    <a:pt x="6647" y="1835"/>
                  </a:lnTo>
                  <a:lnTo>
                    <a:pt x="6667" y="1816"/>
                  </a:lnTo>
                  <a:lnTo>
                    <a:pt x="6685" y="1796"/>
                  </a:lnTo>
                  <a:lnTo>
                    <a:pt x="6699" y="1779"/>
                  </a:lnTo>
                  <a:lnTo>
                    <a:pt x="6712" y="1760"/>
                  </a:lnTo>
                  <a:lnTo>
                    <a:pt x="6735" y="1721"/>
                  </a:lnTo>
                  <a:lnTo>
                    <a:pt x="6755" y="1678"/>
                  </a:lnTo>
                  <a:lnTo>
                    <a:pt x="6769" y="1628"/>
                  </a:lnTo>
                  <a:lnTo>
                    <a:pt x="6781" y="1573"/>
                  </a:lnTo>
                  <a:lnTo>
                    <a:pt x="6786" y="1542"/>
                  </a:lnTo>
                  <a:lnTo>
                    <a:pt x="6790" y="1509"/>
                  </a:lnTo>
                  <a:lnTo>
                    <a:pt x="6795" y="1438"/>
                  </a:lnTo>
                  <a:lnTo>
                    <a:pt x="6796" y="1358"/>
                  </a:lnTo>
                  <a:close/>
                  <a:moveTo>
                    <a:pt x="8720" y="1938"/>
                  </a:moveTo>
                  <a:lnTo>
                    <a:pt x="8720" y="1254"/>
                  </a:lnTo>
                  <a:lnTo>
                    <a:pt x="8718" y="1185"/>
                  </a:lnTo>
                  <a:lnTo>
                    <a:pt x="8716" y="1124"/>
                  </a:lnTo>
                  <a:lnTo>
                    <a:pt x="8712" y="1072"/>
                  </a:lnTo>
                  <a:lnTo>
                    <a:pt x="8706" y="1025"/>
                  </a:lnTo>
                  <a:lnTo>
                    <a:pt x="8698" y="985"/>
                  </a:lnTo>
                  <a:lnTo>
                    <a:pt x="8688" y="950"/>
                  </a:lnTo>
                  <a:lnTo>
                    <a:pt x="8676" y="918"/>
                  </a:lnTo>
                  <a:lnTo>
                    <a:pt x="8662" y="891"/>
                  </a:lnTo>
                  <a:lnTo>
                    <a:pt x="8650" y="871"/>
                  </a:lnTo>
                  <a:lnTo>
                    <a:pt x="8636" y="853"/>
                  </a:lnTo>
                  <a:lnTo>
                    <a:pt x="8622" y="836"/>
                  </a:lnTo>
                  <a:lnTo>
                    <a:pt x="8605" y="820"/>
                  </a:lnTo>
                  <a:lnTo>
                    <a:pt x="8589" y="805"/>
                  </a:lnTo>
                  <a:lnTo>
                    <a:pt x="8570" y="791"/>
                  </a:lnTo>
                  <a:lnTo>
                    <a:pt x="8529" y="766"/>
                  </a:lnTo>
                  <a:lnTo>
                    <a:pt x="8506" y="756"/>
                  </a:lnTo>
                  <a:lnTo>
                    <a:pt x="8484" y="747"/>
                  </a:lnTo>
                  <a:lnTo>
                    <a:pt x="8436" y="733"/>
                  </a:lnTo>
                  <a:lnTo>
                    <a:pt x="8385" y="724"/>
                  </a:lnTo>
                  <a:lnTo>
                    <a:pt x="8332" y="721"/>
                  </a:lnTo>
                  <a:lnTo>
                    <a:pt x="8300" y="722"/>
                  </a:lnTo>
                  <a:lnTo>
                    <a:pt x="8269" y="725"/>
                  </a:lnTo>
                  <a:lnTo>
                    <a:pt x="8239" y="731"/>
                  </a:lnTo>
                  <a:lnTo>
                    <a:pt x="8210" y="737"/>
                  </a:lnTo>
                  <a:lnTo>
                    <a:pt x="8182" y="747"/>
                  </a:lnTo>
                  <a:lnTo>
                    <a:pt x="8155" y="758"/>
                  </a:lnTo>
                  <a:lnTo>
                    <a:pt x="8130" y="772"/>
                  </a:lnTo>
                  <a:lnTo>
                    <a:pt x="8106" y="788"/>
                  </a:lnTo>
                  <a:lnTo>
                    <a:pt x="8083" y="806"/>
                  </a:lnTo>
                  <a:lnTo>
                    <a:pt x="8061" y="827"/>
                  </a:lnTo>
                  <a:lnTo>
                    <a:pt x="8040" y="850"/>
                  </a:lnTo>
                  <a:lnTo>
                    <a:pt x="8021" y="874"/>
                  </a:lnTo>
                  <a:lnTo>
                    <a:pt x="8002" y="902"/>
                  </a:lnTo>
                  <a:lnTo>
                    <a:pt x="7984" y="931"/>
                  </a:lnTo>
                  <a:lnTo>
                    <a:pt x="7968" y="963"/>
                  </a:lnTo>
                  <a:lnTo>
                    <a:pt x="7951" y="997"/>
                  </a:lnTo>
                  <a:lnTo>
                    <a:pt x="7942" y="964"/>
                  </a:lnTo>
                  <a:lnTo>
                    <a:pt x="7932" y="933"/>
                  </a:lnTo>
                  <a:lnTo>
                    <a:pt x="7908" y="876"/>
                  </a:lnTo>
                  <a:lnTo>
                    <a:pt x="7893" y="852"/>
                  </a:lnTo>
                  <a:lnTo>
                    <a:pt x="7885" y="840"/>
                  </a:lnTo>
                  <a:lnTo>
                    <a:pt x="7877" y="828"/>
                  </a:lnTo>
                  <a:lnTo>
                    <a:pt x="7869" y="818"/>
                  </a:lnTo>
                  <a:lnTo>
                    <a:pt x="7859" y="808"/>
                  </a:lnTo>
                  <a:lnTo>
                    <a:pt x="7840" y="791"/>
                  </a:lnTo>
                  <a:lnTo>
                    <a:pt x="7820" y="774"/>
                  </a:lnTo>
                  <a:lnTo>
                    <a:pt x="7798" y="760"/>
                  </a:lnTo>
                  <a:lnTo>
                    <a:pt x="7773" y="748"/>
                  </a:lnTo>
                  <a:lnTo>
                    <a:pt x="7748" y="738"/>
                  </a:lnTo>
                  <a:lnTo>
                    <a:pt x="7721" y="731"/>
                  </a:lnTo>
                  <a:lnTo>
                    <a:pt x="7692" y="725"/>
                  </a:lnTo>
                  <a:lnTo>
                    <a:pt x="7662" y="722"/>
                  </a:lnTo>
                  <a:lnTo>
                    <a:pt x="7630" y="721"/>
                  </a:lnTo>
                  <a:lnTo>
                    <a:pt x="7598" y="722"/>
                  </a:lnTo>
                  <a:lnTo>
                    <a:pt x="7567" y="725"/>
                  </a:lnTo>
                  <a:lnTo>
                    <a:pt x="7537" y="730"/>
                  </a:lnTo>
                  <a:lnTo>
                    <a:pt x="7509" y="737"/>
                  </a:lnTo>
                  <a:lnTo>
                    <a:pt x="7481" y="746"/>
                  </a:lnTo>
                  <a:lnTo>
                    <a:pt x="7456" y="757"/>
                  </a:lnTo>
                  <a:lnTo>
                    <a:pt x="7431" y="771"/>
                  </a:lnTo>
                  <a:lnTo>
                    <a:pt x="7408" y="786"/>
                  </a:lnTo>
                  <a:lnTo>
                    <a:pt x="7386" y="804"/>
                  </a:lnTo>
                  <a:lnTo>
                    <a:pt x="7364" y="824"/>
                  </a:lnTo>
                  <a:lnTo>
                    <a:pt x="7344" y="846"/>
                  </a:lnTo>
                  <a:lnTo>
                    <a:pt x="7324" y="871"/>
                  </a:lnTo>
                  <a:lnTo>
                    <a:pt x="7307" y="896"/>
                  </a:lnTo>
                  <a:lnTo>
                    <a:pt x="7288" y="925"/>
                  </a:lnTo>
                  <a:lnTo>
                    <a:pt x="7270" y="956"/>
                  </a:lnTo>
                  <a:lnTo>
                    <a:pt x="7253" y="990"/>
                  </a:lnTo>
                  <a:lnTo>
                    <a:pt x="7253" y="746"/>
                  </a:lnTo>
                  <a:lnTo>
                    <a:pt x="6927" y="746"/>
                  </a:lnTo>
                  <a:lnTo>
                    <a:pt x="6927" y="1342"/>
                  </a:lnTo>
                  <a:lnTo>
                    <a:pt x="6927" y="1938"/>
                  </a:lnTo>
                  <a:lnTo>
                    <a:pt x="7266" y="1938"/>
                  </a:lnTo>
                  <a:lnTo>
                    <a:pt x="7266" y="1384"/>
                  </a:lnTo>
                  <a:lnTo>
                    <a:pt x="7267" y="1329"/>
                  </a:lnTo>
                  <a:lnTo>
                    <a:pt x="7270" y="1283"/>
                  </a:lnTo>
                  <a:lnTo>
                    <a:pt x="7276" y="1242"/>
                  </a:lnTo>
                  <a:lnTo>
                    <a:pt x="7283" y="1207"/>
                  </a:lnTo>
                  <a:lnTo>
                    <a:pt x="7290" y="1187"/>
                  </a:lnTo>
                  <a:lnTo>
                    <a:pt x="7297" y="1169"/>
                  </a:lnTo>
                  <a:lnTo>
                    <a:pt x="7314" y="1135"/>
                  </a:lnTo>
                  <a:lnTo>
                    <a:pt x="7323" y="1118"/>
                  </a:lnTo>
                  <a:lnTo>
                    <a:pt x="7334" y="1104"/>
                  </a:lnTo>
                  <a:lnTo>
                    <a:pt x="7359" y="1078"/>
                  </a:lnTo>
                  <a:lnTo>
                    <a:pt x="7386" y="1058"/>
                  </a:lnTo>
                  <a:lnTo>
                    <a:pt x="7416" y="1043"/>
                  </a:lnTo>
                  <a:lnTo>
                    <a:pt x="7431" y="1037"/>
                  </a:lnTo>
                  <a:lnTo>
                    <a:pt x="7447" y="1034"/>
                  </a:lnTo>
                  <a:lnTo>
                    <a:pt x="7481" y="1031"/>
                  </a:lnTo>
                  <a:lnTo>
                    <a:pt x="7506" y="1032"/>
                  </a:lnTo>
                  <a:lnTo>
                    <a:pt x="7530" y="1037"/>
                  </a:lnTo>
                  <a:lnTo>
                    <a:pt x="7551" y="1045"/>
                  </a:lnTo>
                  <a:lnTo>
                    <a:pt x="7570" y="1056"/>
                  </a:lnTo>
                  <a:lnTo>
                    <a:pt x="7588" y="1069"/>
                  </a:lnTo>
                  <a:lnTo>
                    <a:pt x="7602" y="1086"/>
                  </a:lnTo>
                  <a:lnTo>
                    <a:pt x="7615" y="1106"/>
                  </a:lnTo>
                  <a:lnTo>
                    <a:pt x="7621" y="1116"/>
                  </a:lnTo>
                  <a:lnTo>
                    <a:pt x="7625" y="1127"/>
                  </a:lnTo>
                  <a:lnTo>
                    <a:pt x="7638" y="1165"/>
                  </a:lnTo>
                  <a:lnTo>
                    <a:pt x="7645" y="1211"/>
                  </a:lnTo>
                  <a:lnTo>
                    <a:pt x="7650" y="1268"/>
                  </a:lnTo>
                  <a:lnTo>
                    <a:pt x="7651" y="1342"/>
                  </a:lnTo>
                  <a:lnTo>
                    <a:pt x="7651" y="1938"/>
                  </a:lnTo>
                  <a:lnTo>
                    <a:pt x="7993" y="1938"/>
                  </a:lnTo>
                  <a:lnTo>
                    <a:pt x="7993" y="1364"/>
                  </a:lnTo>
                  <a:lnTo>
                    <a:pt x="7993" y="1325"/>
                  </a:lnTo>
                  <a:lnTo>
                    <a:pt x="7996" y="1287"/>
                  </a:lnTo>
                  <a:lnTo>
                    <a:pt x="8000" y="1253"/>
                  </a:lnTo>
                  <a:lnTo>
                    <a:pt x="8006" y="1221"/>
                  </a:lnTo>
                  <a:lnTo>
                    <a:pt x="8014" y="1191"/>
                  </a:lnTo>
                  <a:lnTo>
                    <a:pt x="8023" y="1164"/>
                  </a:lnTo>
                  <a:lnTo>
                    <a:pt x="8034" y="1138"/>
                  </a:lnTo>
                  <a:lnTo>
                    <a:pt x="8046" y="1116"/>
                  </a:lnTo>
                  <a:lnTo>
                    <a:pt x="8061" y="1096"/>
                  </a:lnTo>
                  <a:lnTo>
                    <a:pt x="8078" y="1079"/>
                  </a:lnTo>
                  <a:lnTo>
                    <a:pt x="8095" y="1064"/>
                  </a:lnTo>
                  <a:lnTo>
                    <a:pt x="8114" y="1052"/>
                  </a:lnTo>
                  <a:lnTo>
                    <a:pt x="8135" y="1043"/>
                  </a:lnTo>
                  <a:lnTo>
                    <a:pt x="8158" y="1036"/>
                  </a:lnTo>
                  <a:lnTo>
                    <a:pt x="8182" y="1032"/>
                  </a:lnTo>
                  <a:lnTo>
                    <a:pt x="8208" y="1031"/>
                  </a:lnTo>
                  <a:lnTo>
                    <a:pt x="8238" y="1032"/>
                  </a:lnTo>
                  <a:lnTo>
                    <a:pt x="8264" y="1037"/>
                  </a:lnTo>
                  <a:lnTo>
                    <a:pt x="8289" y="1046"/>
                  </a:lnTo>
                  <a:lnTo>
                    <a:pt x="8310" y="1058"/>
                  </a:lnTo>
                  <a:lnTo>
                    <a:pt x="8320" y="1066"/>
                  </a:lnTo>
                  <a:lnTo>
                    <a:pt x="8329" y="1075"/>
                  </a:lnTo>
                  <a:lnTo>
                    <a:pt x="8336" y="1084"/>
                  </a:lnTo>
                  <a:lnTo>
                    <a:pt x="8343" y="1095"/>
                  </a:lnTo>
                  <a:lnTo>
                    <a:pt x="8356" y="1118"/>
                  </a:lnTo>
                  <a:lnTo>
                    <a:pt x="8365" y="1146"/>
                  </a:lnTo>
                  <a:lnTo>
                    <a:pt x="8370" y="1178"/>
                  </a:lnTo>
                  <a:lnTo>
                    <a:pt x="8374" y="1219"/>
                  </a:lnTo>
                  <a:lnTo>
                    <a:pt x="8376" y="1268"/>
                  </a:lnTo>
                  <a:lnTo>
                    <a:pt x="8377" y="1324"/>
                  </a:lnTo>
                  <a:lnTo>
                    <a:pt x="8377" y="1938"/>
                  </a:lnTo>
                  <a:lnTo>
                    <a:pt x="8720" y="1938"/>
                  </a:lnTo>
                  <a:close/>
                  <a:moveTo>
                    <a:pt x="2622" y="369"/>
                  </a:moveTo>
                  <a:lnTo>
                    <a:pt x="2584" y="372"/>
                  </a:lnTo>
                  <a:lnTo>
                    <a:pt x="2566" y="376"/>
                  </a:lnTo>
                  <a:lnTo>
                    <a:pt x="2549" y="382"/>
                  </a:lnTo>
                  <a:lnTo>
                    <a:pt x="2534" y="390"/>
                  </a:lnTo>
                  <a:lnTo>
                    <a:pt x="2519" y="399"/>
                  </a:lnTo>
                  <a:lnTo>
                    <a:pt x="2494" y="421"/>
                  </a:lnTo>
                  <a:lnTo>
                    <a:pt x="2483" y="434"/>
                  </a:lnTo>
                  <a:lnTo>
                    <a:pt x="2473" y="450"/>
                  </a:lnTo>
                  <a:lnTo>
                    <a:pt x="2465" y="465"/>
                  </a:lnTo>
                  <a:lnTo>
                    <a:pt x="2458" y="483"/>
                  </a:lnTo>
                  <a:lnTo>
                    <a:pt x="2453" y="502"/>
                  </a:lnTo>
                  <a:lnTo>
                    <a:pt x="2449" y="521"/>
                  </a:lnTo>
                  <a:lnTo>
                    <a:pt x="2446" y="542"/>
                  </a:lnTo>
                  <a:lnTo>
                    <a:pt x="2446" y="564"/>
                  </a:lnTo>
                  <a:lnTo>
                    <a:pt x="2446" y="757"/>
                  </a:lnTo>
                  <a:lnTo>
                    <a:pt x="2692" y="757"/>
                  </a:lnTo>
                  <a:lnTo>
                    <a:pt x="2692" y="1027"/>
                  </a:lnTo>
                  <a:lnTo>
                    <a:pt x="2446" y="1027"/>
                  </a:lnTo>
                  <a:lnTo>
                    <a:pt x="2446" y="1483"/>
                  </a:lnTo>
                  <a:lnTo>
                    <a:pt x="2446" y="1938"/>
                  </a:lnTo>
                  <a:lnTo>
                    <a:pt x="2107" y="1938"/>
                  </a:lnTo>
                  <a:lnTo>
                    <a:pt x="2107" y="1483"/>
                  </a:lnTo>
                  <a:lnTo>
                    <a:pt x="2107" y="1027"/>
                  </a:lnTo>
                  <a:lnTo>
                    <a:pt x="1950" y="1027"/>
                  </a:lnTo>
                  <a:lnTo>
                    <a:pt x="1950" y="757"/>
                  </a:lnTo>
                  <a:lnTo>
                    <a:pt x="2107" y="757"/>
                  </a:lnTo>
                  <a:lnTo>
                    <a:pt x="2107" y="595"/>
                  </a:lnTo>
                  <a:lnTo>
                    <a:pt x="2110" y="501"/>
                  </a:lnTo>
                  <a:lnTo>
                    <a:pt x="2115" y="454"/>
                  </a:lnTo>
                  <a:lnTo>
                    <a:pt x="2122" y="407"/>
                  </a:lnTo>
                  <a:lnTo>
                    <a:pt x="2126" y="385"/>
                  </a:lnTo>
                  <a:lnTo>
                    <a:pt x="2130" y="363"/>
                  </a:lnTo>
                  <a:lnTo>
                    <a:pt x="2144" y="320"/>
                  </a:lnTo>
                  <a:lnTo>
                    <a:pt x="2152" y="299"/>
                  </a:lnTo>
                  <a:lnTo>
                    <a:pt x="2160" y="278"/>
                  </a:lnTo>
                  <a:lnTo>
                    <a:pt x="2182" y="240"/>
                  </a:lnTo>
                  <a:lnTo>
                    <a:pt x="2207" y="203"/>
                  </a:lnTo>
                  <a:lnTo>
                    <a:pt x="2222" y="186"/>
                  </a:lnTo>
                  <a:lnTo>
                    <a:pt x="2238" y="171"/>
                  </a:lnTo>
                  <a:lnTo>
                    <a:pt x="2255" y="156"/>
                  </a:lnTo>
                  <a:lnTo>
                    <a:pt x="2274" y="142"/>
                  </a:lnTo>
                  <a:lnTo>
                    <a:pt x="2316" y="118"/>
                  </a:lnTo>
                  <a:lnTo>
                    <a:pt x="2339" y="108"/>
                  </a:lnTo>
                  <a:lnTo>
                    <a:pt x="2365" y="99"/>
                  </a:lnTo>
                  <a:lnTo>
                    <a:pt x="2391" y="90"/>
                  </a:lnTo>
                  <a:lnTo>
                    <a:pt x="2419" y="83"/>
                  </a:lnTo>
                  <a:lnTo>
                    <a:pt x="2449" y="79"/>
                  </a:lnTo>
                  <a:lnTo>
                    <a:pt x="2481" y="74"/>
                  </a:lnTo>
                  <a:lnTo>
                    <a:pt x="2516" y="72"/>
                  </a:lnTo>
                  <a:lnTo>
                    <a:pt x="2551" y="71"/>
                  </a:lnTo>
                  <a:lnTo>
                    <a:pt x="2615" y="73"/>
                  </a:lnTo>
                  <a:lnTo>
                    <a:pt x="2668" y="79"/>
                  </a:lnTo>
                  <a:lnTo>
                    <a:pt x="2721" y="88"/>
                  </a:lnTo>
                  <a:lnTo>
                    <a:pt x="2782" y="100"/>
                  </a:lnTo>
                  <a:lnTo>
                    <a:pt x="2782" y="390"/>
                  </a:lnTo>
                  <a:lnTo>
                    <a:pt x="2717" y="375"/>
                  </a:lnTo>
                  <a:lnTo>
                    <a:pt x="2676" y="371"/>
                  </a:lnTo>
                  <a:lnTo>
                    <a:pt x="2622" y="369"/>
                  </a:lnTo>
                  <a:close/>
                  <a:moveTo>
                    <a:pt x="1447" y="1554"/>
                  </a:moveTo>
                  <a:lnTo>
                    <a:pt x="1649" y="1903"/>
                  </a:lnTo>
                  <a:lnTo>
                    <a:pt x="1599" y="1930"/>
                  </a:lnTo>
                  <a:lnTo>
                    <a:pt x="1549" y="1955"/>
                  </a:lnTo>
                  <a:lnTo>
                    <a:pt x="1498" y="1976"/>
                  </a:lnTo>
                  <a:lnTo>
                    <a:pt x="1446" y="1995"/>
                  </a:lnTo>
                  <a:lnTo>
                    <a:pt x="1394" y="2010"/>
                  </a:lnTo>
                  <a:lnTo>
                    <a:pt x="1342" y="2024"/>
                  </a:lnTo>
                  <a:lnTo>
                    <a:pt x="1288" y="2035"/>
                  </a:lnTo>
                  <a:lnTo>
                    <a:pt x="1235" y="2042"/>
                  </a:lnTo>
                  <a:lnTo>
                    <a:pt x="1183" y="2047"/>
                  </a:lnTo>
                  <a:lnTo>
                    <a:pt x="1130" y="2050"/>
                  </a:lnTo>
                  <a:lnTo>
                    <a:pt x="1076" y="2050"/>
                  </a:lnTo>
                  <a:lnTo>
                    <a:pt x="1023" y="2048"/>
                  </a:lnTo>
                  <a:lnTo>
                    <a:pt x="971" y="2042"/>
                  </a:lnTo>
                  <a:lnTo>
                    <a:pt x="919" y="2036"/>
                  </a:lnTo>
                  <a:lnTo>
                    <a:pt x="866" y="2026"/>
                  </a:lnTo>
                  <a:lnTo>
                    <a:pt x="815" y="2012"/>
                  </a:lnTo>
                  <a:lnTo>
                    <a:pt x="764" y="1998"/>
                  </a:lnTo>
                  <a:lnTo>
                    <a:pt x="714" y="1981"/>
                  </a:lnTo>
                  <a:lnTo>
                    <a:pt x="690" y="1971"/>
                  </a:lnTo>
                  <a:lnTo>
                    <a:pt x="665" y="1961"/>
                  </a:lnTo>
                  <a:lnTo>
                    <a:pt x="618" y="1939"/>
                  </a:lnTo>
                  <a:lnTo>
                    <a:pt x="570" y="1915"/>
                  </a:lnTo>
                  <a:lnTo>
                    <a:pt x="524" y="1888"/>
                  </a:lnTo>
                  <a:lnTo>
                    <a:pt x="480" y="1859"/>
                  </a:lnTo>
                  <a:lnTo>
                    <a:pt x="436" y="1828"/>
                  </a:lnTo>
                  <a:lnTo>
                    <a:pt x="394" y="1795"/>
                  </a:lnTo>
                  <a:lnTo>
                    <a:pt x="353" y="1759"/>
                  </a:lnTo>
                  <a:lnTo>
                    <a:pt x="314" y="1721"/>
                  </a:lnTo>
                  <a:lnTo>
                    <a:pt x="278" y="1681"/>
                  </a:lnTo>
                  <a:lnTo>
                    <a:pt x="242" y="1639"/>
                  </a:lnTo>
                  <a:lnTo>
                    <a:pt x="209" y="1596"/>
                  </a:lnTo>
                  <a:lnTo>
                    <a:pt x="177" y="1549"/>
                  </a:lnTo>
                  <a:lnTo>
                    <a:pt x="148" y="1502"/>
                  </a:lnTo>
                  <a:lnTo>
                    <a:pt x="120" y="1452"/>
                  </a:lnTo>
                  <a:lnTo>
                    <a:pt x="97" y="1400"/>
                  </a:lnTo>
                  <a:lnTo>
                    <a:pt x="74" y="1349"/>
                  </a:lnTo>
                  <a:lnTo>
                    <a:pt x="55" y="1298"/>
                  </a:lnTo>
                  <a:lnTo>
                    <a:pt x="40" y="1246"/>
                  </a:lnTo>
                  <a:lnTo>
                    <a:pt x="27" y="1193"/>
                  </a:lnTo>
                  <a:lnTo>
                    <a:pt x="17" y="1141"/>
                  </a:lnTo>
                  <a:lnTo>
                    <a:pt x="8" y="1087"/>
                  </a:lnTo>
                  <a:lnTo>
                    <a:pt x="3" y="1034"/>
                  </a:lnTo>
                  <a:lnTo>
                    <a:pt x="0" y="981"/>
                  </a:lnTo>
                  <a:lnTo>
                    <a:pt x="0" y="928"/>
                  </a:lnTo>
                  <a:lnTo>
                    <a:pt x="2" y="875"/>
                  </a:lnTo>
                  <a:lnTo>
                    <a:pt x="8" y="822"/>
                  </a:lnTo>
                  <a:lnTo>
                    <a:pt x="15" y="770"/>
                  </a:lnTo>
                  <a:lnTo>
                    <a:pt x="25" y="718"/>
                  </a:lnTo>
                  <a:lnTo>
                    <a:pt x="38" y="667"/>
                  </a:lnTo>
                  <a:lnTo>
                    <a:pt x="52" y="616"/>
                  </a:lnTo>
                  <a:lnTo>
                    <a:pt x="70" y="566"/>
                  </a:lnTo>
                  <a:lnTo>
                    <a:pt x="79" y="542"/>
                  </a:lnTo>
                  <a:lnTo>
                    <a:pt x="89" y="517"/>
                  </a:lnTo>
                  <a:lnTo>
                    <a:pt x="111" y="470"/>
                  </a:lnTo>
                  <a:lnTo>
                    <a:pt x="135" y="422"/>
                  </a:lnTo>
                  <a:lnTo>
                    <a:pt x="162" y="376"/>
                  </a:lnTo>
                  <a:lnTo>
                    <a:pt x="191" y="332"/>
                  </a:lnTo>
                  <a:lnTo>
                    <a:pt x="222" y="289"/>
                  </a:lnTo>
                  <a:lnTo>
                    <a:pt x="255" y="246"/>
                  </a:lnTo>
                  <a:lnTo>
                    <a:pt x="291" y="205"/>
                  </a:lnTo>
                  <a:lnTo>
                    <a:pt x="329" y="166"/>
                  </a:lnTo>
                  <a:lnTo>
                    <a:pt x="369" y="130"/>
                  </a:lnTo>
                  <a:lnTo>
                    <a:pt x="411" y="94"/>
                  </a:lnTo>
                  <a:lnTo>
                    <a:pt x="455" y="61"/>
                  </a:lnTo>
                  <a:lnTo>
                    <a:pt x="501" y="29"/>
                  </a:lnTo>
                  <a:lnTo>
                    <a:pt x="550" y="0"/>
                  </a:lnTo>
                  <a:lnTo>
                    <a:pt x="825" y="74"/>
                  </a:lnTo>
                  <a:lnTo>
                    <a:pt x="751" y="349"/>
                  </a:lnTo>
                  <a:lnTo>
                    <a:pt x="720" y="369"/>
                  </a:lnTo>
                  <a:lnTo>
                    <a:pt x="690" y="389"/>
                  </a:lnTo>
                  <a:lnTo>
                    <a:pt x="661" y="411"/>
                  </a:lnTo>
                  <a:lnTo>
                    <a:pt x="634" y="434"/>
                  </a:lnTo>
                  <a:lnTo>
                    <a:pt x="608" y="459"/>
                  </a:lnTo>
                  <a:lnTo>
                    <a:pt x="584" y="484"/>
                  </a:lnTo>
                  <a:lnTo>
                    <a:pt x="540" y="537"/>
                  </a:lnTo>
                  <a:lnTo>
                    <a:pt x="520" y="565"/>
                  </a:lnTo>
                  <a:lnTo>
                    <a:pt x="502" y="594"/>
                  </a:lnTo>
                  <a:lnTo>
                    <a:pt x="485" y="624"/>
                  </a:lnTo>
                  <a:lnTo>
                    <a:pt x="470" y="655"/>
                  </a:lnTo>
                  <a:lnTo>
                    <a:pt x="455" y="686"/>
                  </a:lnTo>
                  <a:lnTo>
                    <a:pt x="443" y="717"/>
                  </a:lnTo>
                  <a:lnTo>
                    <a:pt x="424" y="782"/>
                  </a:lnTo>
                  <a:lnTo>
                    <a:pt x="410" y="848"/>
                  </a:lnTo>
                  <a:lnTo>
                    <a:pt x="403" y="915"/>
                  </a:lnTo>
                  <a:lnTo>
                    <a:pt x="401" y="948"/>
                  </a:lnTo>
                  <a:lnTo>
                    <a:pt x="401" y="982"/>
                  </a:lnTo>
                  <a:lnTo>
                    <a:pt x="403" y="1015"/>
                  </a:lnTo>
                  <a:lnTo>
                    <a:pt x="406" y="1048"/>
                  </a:lnTo>
                  <a:lnTo>
                    <a:pt x="411" y="1082"/>
                  </a:lnTo>
                  <a:lnTo>
                    <a:pt x="418" y="1115"/>
                  </a:lnTo>
                  <a:lnTo>
                    <a:pt x="426" y="1147"/>
                  </a:lnTo>
                  <a:lnTo>
                    <a:pt x="435" y="1179"/>
                  </a:lnTo>
                  <a:lnTo>
                    <a:pt x="448" y="1211"/>
                  </a:lnTo>
                  <a:lnTo>
                    <a:pt x="460" y="1242"/>
                  </a:lnTo>
                  <a:lnTo>
                    <a:pt x="475" y="1273"/>
                  </a:lnTo>
                  <a:lnTo>
                    <a:pt x="491" y="1303"/>
                  </a:lnTo>
                  <a:lnTo>
                    <a:pt x="509" y="1332"/>
                  </a:lnTo>
                  <a:lnTo>
                    <a:pt x="528" y="1359"/>
                  </a:lnTo>
                  <a:lnTo>
                    <a:pt x="570" y="1412"/>
                  </a:lnTo>
                  <a:lnTo>
                    <a:pt x="593" y="1436"/>
                  </a:lnTo>
                  <a:lnTo>
                    <a:pt x="618" y="1459"/>
                  </a:lnTo>
                  <a:lnTo>
                    <a:pt x="643" y="1482"/>
                  </a:lnTo>
                  <a:lnTo>
                    <a:pt x="669" y="1503"/>
                  </a:lnTo>
                  <a:lnTo>
                    <a:pt x="724" y="1540"/>
                  </a:lnTo>
                  <a:lnTo>
                    <a:pt x="753" y="1557"/>
                  </a:lnTo>
                  <a:lnTo>
                    <a:pt x="783" y="1573"/>
                  </a:lnTo>
                  <a:lnTo>
                    <a:pt x="844" y="1600"/>
                  </a:lnTo>
                  <a:lnTo>
                    <a:pt x="876" y="1612"/>
                  </a:lnTo>
                  <a:lnTo>
                    <a:pt x="909" y="1622"/>
                  </a:lnTo>
                  <a:lnTo>
                    <a:pt x="974" y="1636"/>
                  </a:lnTo>
                  <a:lnTo>
                    <a:pt x="1007" y="1642"/>
                  </a:lnTo>
                  <a:lnTo>
                    <a:pt x="1042" y="1645"/>
                  </a:lnTo>
                  <a:lnTo>
                    <a:pt x="1075" y="1647"/>
                  </a:lnTo>
                  <a:lnTo>
                    <a:pt x="1110" y="1647"/>
                  </a:lnTo>
                  <a:lnTo>
                    <a:pt x="1144" y="1646"/>
                  </a:lnTo>
                  <a:lnTo>
                    <a:pt x="1178" y="1643"/>
                  </a:lnTo>
                  <a:lnTo>
                    <a:pt x="1213" y="1638"/>
                  </a:lnTo>
                  <a:lnTo>
                    <a:pt x="1246" y="1632"/>
                  </a:lnTo>
                  <a:lnTo>
                    <a:pt x="1281" y="1624"/>
                  </a:lnTo>
                  <a:lnTo>
                    <a:pt x="1315" y="1614"/>
                  </a:lnTo>
                  <a:lnTo>
                    <a:pt x="1348" y="1602"/>
                  </a:lnTo>
                  <a:lnTo>
                    <a:pt x="1382" y="1587"/>
                  </a:lnTo>
                  <a:lnTo>
                    <a:pt x="1415" y="1572"/>
                  </a:lnTo>
                  <a:lnTo>
                    <a:pt x="1447" y="1554"/>
                  </a:lnTo>
                  <a:close/>
                  <a:moveTo>
                    <a:pt x="565" y="1259"/>
                  </a:moveTo>
                  <a:lnTo>
                    <a:pt x="598" y="1309"/>
                  </a:lnTo>
                  <a:lnTo>
                    <a:pt x="634" y="1356"/>
                  </a:lnTo>
                  <a:lnTo>
                    <a:pt x="676" y="1398"/>
                  </a:lnTo>
                  <a:lnTo>
                    <a:pt x="721" y="1435"/>
                  </a:lnTo>
                  <a:lnTo>
                    <a:pt x="745" y="1453"/>
                  </a:lnTo>
                  <a:lnTo>
                    <a:pt x="770" y="1468"/>
                  </a:lnTo>
                  <a:lnTo>
                    <a:pt x="821" y="1497"/>
                  </a:lnTo>
                  <a:lnTo>
                    <a:pt x="847" y="1509"/>
                  </a:lnTo>
                  <a:lnTo>
                    <a:pt x="875" y="1520"/>
                  </a:lnTo>
                  <a:lnTo>
                    <a:pt x="932" y="1539"/>
                  </a:lnTo>
                  <a:lnTo>
                    <a:pt x="990" y="1553"/>
                  </a:lnTo>
                  <a:lnTo>
                    <a:pt x="1049" y="1560"/>
                  </a:lnTo>
                  <a:lnTo>
                    <a:pt x="1108" y="1563"/>
                  </a:lnTo>
                  <a:lnTo>
                    <a:pt x="1168" y="1558"/>
                  </a:lnTo>
                  <a:lnTo>
                    <a:pt x="1228" y="1548"/>
                  </a:lnTo>
                  <a:lnTo>
                    <a:pt x="1288" y="1533"/>
                  </a:lnTo>
                  <a:lnTo>
                    <a:pt x="1347" y="1509"/>
                  </a:lnTo>
                  <a:lnTo>
                    <a:pt x="1405" y="1480"/>
                  </a:lnTo>
                  <a:lnTo>
                    <a:pt x="1460" y="1445"/>
                  </a:lnTo>
                  <a:lnTo>
                    <a:pt x="1485" y="1426"/>
                  </a:lnTo>
                  <a:lnTo>
                    <a:pt x="1508" y="1405"/>
                  </a:lnTo>
                  <a:lnTo>
                    <a:pt x="1553" y="1362"/>
                  </a:lnTo>
                  <a:lnTo>
                    <a:pt x="1592" y="1314"/>
                  </a:lnTo>
                  <a:lnTo>
                    <a:pt x="1625" y="1264"/>
                  </a:lnTo>
                  <a:lnTo>
                    <a:pt x="1639" y="1237"/>
                  </a:lnTo>
                  <a:lnTo>
                    <a:pt x="1653" y="1211"/>
                  </a:lnTo>
                  <a:lnTo>
                    <a:pt x="1665" y="1184"/>
                  </a:lnTo>
                  <a:lnTo>
                    <a:pt x="1676" y="1156"/>
                  </a:lnTo>
                  <a:lnTo>
                    <a:pt x="1693" y="1099"/>
                  </a:lnTo>
                  <a:lnTo>
                    <a:pt x="1705" y="1042"/>
                  </a:lnTo>
                  <a:lnTo>
                    <a:pt x="1709" y="1013"/>
                  </a:lnTo>
                  <a:lnTo>
                    <a:pt x="1712" y="983"/>
                  </a:lnTo>
                  <a:lnTo>
                    <a:pt x="1713" y="924"/>
                  </a:lnTo>
                  <a:lnTo>
                    <a:pt x="1708" y="866"/>
                  </a:lnTo>
                  <a:lnTo>
                    <a:pt x="1697" y="807"/>
                  </a:lnTo>
                  <a:lnTo>
                    <a:pt x="1682" y="751"/>
                  </a:lnTo>
                  <a:lnTo>
                    <a:pt x="1661" y="696"/>
                  </a:lnTo>
                  <a:lnTo>
                    <a:pt x="1634" y="643"/>
                  </a:lnTo>
                  <a:lnTo>
                    <a:pt x="1602" y="593"/>
                  </a:lnTo>
                  <a:lnTo>
                    <a:pt x="1564" y="547"/>
                  </a:lnTo>
                  <a:lnTo>
                    <a:pt x="1523" y="505"/>
                  </a:lnTo>
                  <a:lnTo>
                    <a:pt x="1501" y="485"/>
                  </a:lnTo>
                  <a:lnTo>
                    <a:pt x="1478" y="467"/>
                  </a:lnTo>
                  <a:lnTo>
                    <a:pt x="1454" y="450"/>
                  </a:lnTo>
                  <a:lnTo>
                    <a:pt x="1430" y="434"/>
                  </a:lnTo>
                  <a:lnTo>
                    <a:pt x="1378" y="405"/>
                  </a:lnTo>
                  <a:lnTo>
                    <a:pt x="1352" y="393"/>
                  </a:lnTo>
                  <a:lnTo>
                    <a:pt x="1324" y="382"/>
                  </a:lnTo>
                  <a:lnTo>
                    <a:pt x="1268" y="363"/>
                  </a:lnTo>
                  <a:lnTo>
                    <a:pt x="1240" y="356"/>
                  </a:lnTo>
                  <a:lnTo>
                    <a:pt x="1211" y="350"/>
                  </a:lnTo>
                  <a:lnTo>
                    <a:pt x="1181" y="345"/>
                  </a:lnTo>
                  <a:lnTo>
                    <a:pt x="1152" y="342"/>
                  </a:lnTo>
                  <a:lnTo>
                    <a:pt x="1092" y="340"/>
                  </a:lnTo>
                  <a:lnTo>
                    <a:pt x="1031" y="344"/>
                  </a:lnTo>
                  <a:lnTo>
                    <a:pt x="971" y="354"/>
                  </a:lnTo>
                  <a:lnTo>
                    <a:pt x="911" y="370"/>
                  </a:lnTo>
                  <a:lnTo>
                    <a:pt x="881" y="381"/>
                  </a:lnTo>
                  <a:lnTo>
                    <a:pt x="852" y="393"/>
                  </a:lnTo>
                  <a:lnTo>
                    <a:pt x="823" y="406"/>
                  </a:lnTo>
                  <a:lnTo>
                    <a:pt x="794" y="423"/>
                  </a:lnTo>
                  <a:lnTo>
                    <a:pt x="766" y="440"/>
                  </a:lnTo>
                  <a:lnTo>
                    <a:pt x="740" y="457"/>
                  </a:lnTo>
                  <a:lnTo>
                    <a:pt x="714" y="476"/>
                  </a:lnTo>
                  <a:lnTo>
                    <a:pt x="691" y="497"/>
                  </a:lnTo>
                  <a:lnTo>
                    <a:pt x="646" y="541"/>
                  </a:lnTo>
                  <a:lnTo>
                    <a:pt x="609" y="589"/>
                  </a:lnTo>
                  <a:lnTo>
                    <a:pt x="574" y="639"/>
                  </a:lnTo>
                  <a:lnTo>
                    <a:pt x="560" y="664"/>
                  </a:lnTo>
                  <a:lnTo>
                    <a:pt x="546" y="692"/>
                  </a:lnTo>
                  <a:lnTo>
                    <a:pt x="534" y="718"/>
                  </a:lnTo>
                  <a:lnTo>
                    <a:pt x="524" y="746"/>
                  </a:lnTo>
                  <a:lnTo>
                    <a:pt x="506" y="803"/>
                  </a:lnTo>
                  <a:lnTo>
                    <a:pt x="494" y="861"/>
                  </a:lnTo>
                  <a:lnTo>
                    <a:pt x="488" y="920"/>
                  </a:lnTo>
                  <a:lnTo>
                    <a:pt x="486" y="978"/>
                  </a:lnTo>
                  <a:lnTo>
                    <a:pt x="491" y="1037"/>
                  </a:lnTo>
                  <a:lnTo>
                    <a:pt x="495" y="1066"/>
                  </a:lnTo>
                  <a:lnTo>
                    <a:pt x="501" y="1095"/>
                  </a:lnTo>
                  <a:lnTo>
                    <a:pt x="516" y="1152"/>
                  </a:lnTo>
                  <a:lnTo>
                    <a:pt x="538" y="1207"/>
                  </a:lnTo>
                  <a:lnTo>
                    <a:pt x="565" y="12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25" name="Picture Placeholder 8"/>
          <p:cNvSpPr>
            <a:spLocks noGrp="1"/>
          </p:cNvSpPr>
          <p:nvPr>
            <p:ph type="pic" sz="quarter" idx="16"/>
          </p:nvPr>
        </p:nvSpPr>
        <p:spPr>
          <a:xfrm>
            <a:off x="0" y="0"/>
            <a:ext cx="12192000" cy="6858000"/>
          </a:xfrm>
          <a:custGeom>
            <a:avLst/>
            <a:gdLst/>
            <a:ahLst/>
            <a:cxnLst/>
            <a:rect l="l" t="t" r="r" b="b"/>
            <a:pathLst>
              <a:path w="12192000" h="6858000">
                <a:moveTo>
                  <a:pt x="10297850" y="6211927"/>
                </a:moveTo>
                <a:lnTo>
                  <a:pt x="10297850" y="6333814"/>
                </a:lnTo>
                <a:lnTo>
                  <a:pt x="10297850" y="6455701"/>
                </a:lnTo>
                <a:lnTo>
                  <a:pt x="10297850" y="6577587"/>
                </a:lnTo>
                <a:lnTo>
                  <a:pt x="10297850" y="6699474"/>
                </a:lnTo>
                <a:lnTo>
                  <a:pt x="10389125" y="6699474"/>
                </a:lnTo>
                <a:lnTo>
                  <a:pt x="10480540" y="6699474"/>
                </a:lnTo>
                <a:lnTo>
                  <a:pt x="10572095" y="6699474"/>
                </a:lnTo>
                <a:lnTo>
                  <a:pt x="10663510" y="6699474"/>
                </a:lnTo>
                <a:lnTo>
                  <a:pt x="10754785" y="6699474"/>
                </a:lnTo>
                <a:lnTo>
                  <a:pt x="10846199" y="6699474"/>
                </a:lnTo>
                <a:lnTo>
                  <a:pt x="10937754" y="6699474"/>
                </a:lnTo>
                <a:lnTo>
                  <a:pt x="11029169" y="6699474"/>
                </a:lnTo>
                <a:lnTo>
                  <a:pt x="11120444" y="6699474"/>
                </a:lnTo>
                <a:lnTo>
                  <a:pt x="11211859" y="6699474"/>
                </a:lnTo>
                <a:lnTo>
                  <a:pt x="11303274" y="6699474"/>
                </a:lnTo>
                <a:lnTo>
                  <a:pt x="11394828" y="6699474"/>
                </a:lnTo>
                <a:lnTo>
                  <a:pt x="11486104" y="6699474"/>
                </a:lnTo>
                <a:lnTo>
                  <a:pt x="11577518" y="6699474"/>
                </a:lnTo>
                <a:lnTo>
                  <a:pt x="11668933" y="6699474"/>
                </a:lnTo>
                <a:lnTo>
                  <a:pt x="11760488" y="6699474"/>
                </a:lnTo>
                <a:lnTo>
                  <a:pt x="11760488" y="6577587"/>
                </a:lnTo>
                <a:lnTo>
                  <a:pt x="11760488" y="6455701"/>
                </a:lnTo>
                <a:lnTo>
                  <a:pt x="11760488" y="6333814"/>
                </a:lnTo>
                <a:lnTo>
                  <a:pt x="11760488" y="6211927"/>
                </a:lnTo>
                <a:lnTo>
                  <a:pt x="11668933" y="6211927"/>
                </a:lnTo>
                <a:lnTo>
                  <a:pt x="11577518" y="6211927"/>
                </a:lnTo>
                <a:lnTo>
                  <a:pt x="11486104" y="6211927"/>
                </a:lnTo>
                <a:lnTo>
                  <a:pt x="11394828" y="6211927"/>
                </a:lnTo>
                <a:lnTo>
                  <a:pt x="11303274" y="6211927"/>
                </a:lnTo>
                <a:lnTo>
                  <a:pt x="11211859" y="6211927"/>
                </a:lnTo>
                <a:lnTo>
                  <a:pt x="11120444" y="6211927"/>
                </a:lnTo>
                <a:lnTo>
                  <a:pt x="11029169" y="6211927"/>
                </a:lnTo>
                <a:lnTo>
                  <a:pt x="10937754" y="6211927"/>
                </a:lnTo>
                <a:lnTo>
                  <a:pt x="10846199" y="6211927"/>
                </a:lnTo>
                <a:lnTo>
                  <a:pt x="10754785" y="6211927"/>
                </a:lnTo>
                <a:lnTo>
                  <a:pt x="10663510" y="6211927"/>
                </a:lnTo>
                <a:lnTo>
                  <a:pt x="10572095" y="6211927"/>
                </a:lnTo>
                <a:lnTo>
                  <a:pt x="10480540" y="6211927"/>
                </a:lnTo>
                <a:lnTo>
                  <a:pt x="10389125" y="6211927"/>
                </a:lnTo>
                <a:close/>
                <a:moveTo>
                  <a:pt x="0" y="0"/>
                </a:moveTo>
                <a:lnTo>
                  <a:pt x="12192000" y="0"/>
                </a:lnTo>
                <a:lnTo>
                  <a:pt x="12192000" y="6858000"/>
                </a:lnTo>
                <a:lnTo>
                  <a:pt x="0" y="6858000"/>
                </a:lnTo>
                <a:close/>
              </a:path>
            </a:pathLst>
          </a:custGeom>
          <a:solidFill>
            <a:srgbClr val="EAEAEA"/>
          </a:solidFill>
        </p:spPr>
        <p:txBody>
          <a:bodyPr>
            <a:normAutofit/>
          </a:bodyPr>
          <a:lstStyle>
            <a:lvl1pPr marL="0" indent="0" algn="r">
              <a:buFontTx/>
              <a:buNone/>
              <a:defRPr sz="1200"/>
            </a:lvl1pPr>
          </a:lstStyle>
          <a:p>
            <a:r>
              <a:rPr lang="nb-NO"/>
              <a:t>Klikk ikonet for å legge til et bilde</a:t>
            </a:r>
            <a:endParaRPr lang="en-GB"/>
          </a:p>
        </p:txBody>
      </p:sp>
      <p:sp>
        <p:nvSpPr>
          <p:cNvPr id="2" name="Title 1"/>
          <p:cNvSpPr>
            <a:spLocks noGrp="1"/>
          </p:cNvSpPr>
          <p:nvPr>
            <p:ph type="ctrTitle"/>
          </p:nvPr>
        </p:nvSpPr>
        <p:spPr>
          <a:xfrm>
            <a:off x="550866" y="1926000"/>
            <a:ext cx="9217025" cy="1296000"/>
          </a:xfrm>
        </p:spPr>
        <p:txBody>
          <a:bodyPr anchor="t" anchorCtr="0"/>
          <a:lstStyle>
            <a:lvl1pPr algn="l">
              <a:defRPr sz="5000" b="1">
                <a:solidFill>
                  <a:schemeClr val="bg1"/>
                </a:solidFill>
                <a:effectLst>
                  <a:outerShdw blurRad="254000" algn="ctr" rotWithShape="0">
                    <a:prstClr val="black">
                      <a:alpha val="35000"/>
                    </a:prstClr>
                  </a:outerShdw>
                </a:effectLst>
              </a:defRPr>
            </a:lvl1pPr>
          </a:lstStyle>
          <a:p>
            <a:r>
              <a:rPr lang="nb-NO"/>
              <a:t>Klikk for å redigere tittelstil</a:t>
            </a:r>
            <a:endParaRPr lang="en-US" dirty="0"/>
          </a:p>
        </p:txBody>
      </p:sp>
      <p:sp>
        <p:nvSpPr>
          <p:cNvPr id="3" name="Subtitle 2"/>
          <p:cNvSpPr>
            <a:spLocks noGrp="1"/>
          </p:cNvSpPr>
          <p:nvPr>
            <p:ph type="subTitle" idx="1"/>
          </p:nvPr>
        </p:nvSpPr>
        <p:spPr>
          <a:xfrm>
            <a:off x="550866" y="1404000"/>
            <a:ext cx="9217025" cy="360000"/>
          </a:xfrm>
        </p:spPr>
        <p:txBody>
          <a:bodyPr anchor="b" anchorCtr="0"/>
          <a:lstStyle>
            <a:lvl1pPr marL="0" indent="0" algn="l">
              <a:buNone/>
              <a:defRPr sz="2000">
                <a:solidFill>
                  <a:schemeClr val="bg1"/>
                </a:solidFill>
                <a:effectLst>
                  <a:outerShdw blurRad="254000" algn="ctr" rotWithShape="0">
                    <a:prstClr val="black">
                      <a:alpha val="35000"/>
                    </a:prstClr>
                  </a:outerShdw>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US" dirty="0"/>
          </a:p>
        </p:txBody>
      </p:sp>
      <p:sp>
        <p:nvSpPr>
          <p:cNvPr id="4" name="Date Placeholder 3"/>
          <p:cNvSpPr>
            <a:spLocks noGrp="1"/>
          </p:cNvSpPr>
          <p:nvPr>
            <p:ph type="dt" sz="half" idx="10"/>
          </p:nvPr>
        </p:nvSpPr>
        <p:spPr>
          <a:noFill/>
        </p:spPr>
        <p:txBody>
          <a:bodyPr/>
          <a:lstStyle>
            <a:lvl1pPr>
              <a:defRPr>
                <a:noFill/>
              </a:defRPr>
            </a:lvl1pPr>
          </a:lstStyle>
          <a:p>
            <a:fld id="{8710A53A-8F37-4A54-B108-F20291A65A07}" type="datetime1">
              <a:rPr lang="en-US" smtClean="0"/>
              <a:t>5/29/19</a:t>
            </a:fld>
            <a:endParaRPr lang="en-US"/>
          </a:p>
        </p:txBody>
      </p:sp>
      <p:sp>
        <p:nvSpPr>
          <p:cNvPr id="5" name="Footer Placeholder 4"/>
          <p:cNvSpPr>
            <a:spLocks noGrp="1"/>
          </p:cNvSpPr>
          <p:nvPr>
            <p:ph type="ftr" sz="quarter" idx="11"/>
          </p:nvPr>
        </p:nvSpPr>
        <p:spPr>
          <a:noFill/>
        </p:spPr>
        <p:txBody>
          <a:bodyPr/>
          <a:lstStyle>
            <a:lvl1pPr>
              <a:defRPr>
                <a:noFill/>
              </a:defRPr>
            </a:lvl1pPr>
          </a:lstStyle>
          <a:p>
            <a:endParaRPr lang="en-US"/>
          </a:p>
        </p:txBody>
      </p:sp>
      <p:sp>
        <p:nvSpPr>
          <p:cNvPr id="6" name="Slide Number Placeholder 5"/>
          <p:cNvSpPr>
            <a:spLocks noGrp="1"/>
          </p:cNvSpPr>
          <p:nvPr>
            <p:ph type="sldNum" sz="quarter" idx="12"/>
          </p:nvPr>
        </p:nvSpPr>
        <p:spPr>
          <a:noFill/>
        </p:spPr>
        <p:txBody>
          <a:bodyPr/>
          <a:lstStyle>
            <a:lvl1pPr>
              <a:defRPr>
                <a:noFill/>
              </a:defRPr>
            </a:lvl1pPr>
          </a:lstStyle>
          <a:p>
            <a:fld id="{F90E5A77-D385-4CDE-8FE8-D3E3CBE93E71}" type="slidenum">
              <a:rPr lang="en-US" smtClean="0"/>
              <a:pPr/>
              <a:t>‹#›</a:t>
            </a:fld>
            <a:endParaRPr lang="en-US"/>
          </a:p>
        </p:txBody>
      </p:sp>
      <p:sp>
        <p:nvSpPr>
          <p:cNvPr id="12" name="Text Placeholder 11"/>
          <p:cNvSpPr>
            <a:spLocks noGrp="1"/>
          </p:cNvSpPr>
          <p:nvPr>
            <p:ph type="body" sz="quarter" idx="13" hasCustomPrompt="1"/>
          </p:nvPr>
        </p:nvSpPr>
        <p:spPr>
          <a:xfrm>
            <a:off x="550866" y="4653136"/>
            <a:ext cx="9217025" cy="720552"/>
          </a:xfrm>
        </p:spPr>
        <p:txBody>
          <a:bodyPr/>
          <a:lstStyle>
            <a:lvl1pPr marL="0" indent="0">
              <a:buFontTx/>
              <a:buNone/>
              <a:defRPr baseline="0">
                <a:solidFill>
                  <a:schemeClr val="bg1"/>
                </a:solidFill>
                <a:effectLst>
                  <a:outerShdw blurRad="254000" algn="ctr" rotWithShape="0">
                    <a:prstClr val="black">
                      <a:alpha val="35000"/>
                    </a:prstClr>
                  </a:outerShdw>
                </a:effectLst>
              </a:defRPr>
            </a:lvl1pPr>
          </a:lstStyle>
          <a:p>
            <a:pPr lvl="0"/>
            <a:r>
              <a:rPr lang="en-US" dirty="0"/>
              <a:t>Name / Title / Date</a:t>
            </a:r>
          </a:p>
        </p:txBody>
      </p:sp>
      <p:sp>
        <p:nvSpPr>
          <p:cNvPr id="13" name="Text Placeholder 21"/>
          <p:cNvSpPr>
            <a:spLocks noGrp="1"/>
          </p:cNvSpPr>
          <p:nvPr>
            <p:ph type="body" sz="quarter" idx="15" hasCustomPrompt="1"/>
          </p:nvPr>
        </p:nvSpPr>
        <p:spPr>
          <a:xfrm>
            <a:off x="0" y="-2098"/>
            <a:ext cx="1299600" cy="831600"/>
          </a:xfrm>
          <a:blipFill>
            <a:blip r:embed="rId2" cstate="screen">
              <a:extLst>
                <a:ext uri="{28A0092B-C50C-407E-A947-70E740481C1C}">
                  <a14:useLocalDpi xmlns:a14="http://schemas.microsoft.com/office/drawing/2010/main"/>
                </a:ext>
              </a:extLst>
            </a:blip>
            <a:stretch>
              <a:fillRect/>
            </a:stretch>
          </a:blipFill>
        </p:spPr>
        <p:txBody>
          <a:bodyPr>
            <a:normAutofit/>
          </a:bodyPr>
          <a:lstStyle>
            <a:lvl1pPr marL="0" indent="0">
              <a:buFontTx/>
              <a:buNone/>
              <a:defRPr sz="200">
                <a:noFill/>
              </a:defRPr>
            </a:lvl1pPr>
          </a:lstStyle>
          <a:p>
            <a:pPr lvl="0"/>
            <a:r>
              <a:rPr lang="fi-FI" dirty="0"/>
              <a:t> </a:t>
            </a:r>
          </a:p>
        </p:txBody>
      </p:sp>
    </p:spTree>
    <p:extLst>
      <p:ext uri="{BB962C8B-B14F-4D97-AF65-F5344CB8AC3E}">
        <p14:creationId xmlns:p14="http://schemas.microsoft.com/office/powerpoint/2010/main" val="31907344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_and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Content Placeholder 2"/>
          <p:cNvSpPr>
            <a:spLocks noGrp="1"/>
          </p:cNvSpPr>
          <p:nvPr>
            <p:ph idx="1"/>
          </p:nvPr>
        </p:nvSpPr>
        <p:spPr/>
        <p:txBody>
          <a:body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10"/>
          </p:nvPr>
        </p:nvSpPr>
        <p:spPr/>
        <p:txBody>
          <a:bodyPr/>
          <a:lstStyle/>
          <a:p>
            <a:fld id="{7D121CAF-D317-4DCC-A77F-86D12F3B7C99}" type="datetime1">
              <a:rPr lang="en-US" smtClean="0"/>
              <a:t>5/2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0E5A77-D385-4CDE-8FE8-D3E3CBE93E71}" type="slidenum">
              <a:rPr lang="en-US" smtClean="0"/>
              <a:t>‹#›</a:t>
            </a:fld>
            <a:endParaRPr lang="en-US"/>
          </a:p>
        </p:txBody>
      </p:sp>
    </p:spTree>
    <p:extLst>
      <p:ext uri="{BB962C8B-B14F-4D97-AF65-F5344CB8AC3E}">
        <p14:creationId xmlns:p14="http://schemas.microsoft.com/office/powerpoint/2010/main" val="34105453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s_and_conten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50863" y="1484316"/>
            <a:ext cx="11090274" cy="575767"/>
          </a:xfrm>
        </p:spPr>
        <p:txBody>
          <a:bodyPr anchor="t" anchorCtr="0"/>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Content Placeholder 3"/>
          <p:cNvSpPr>
            <a:spLocks noGrp="1"/>
          </p:cNvSpPr>
          <p:nvPr>
            <p:ph sz="half" idx="2"/>
          </p:nvPr>
        </p:nvSpPr>
        <p:spPr>
          <a:xfrm>
            <a:off x="550863" y="2060849"/>
            <a:ext cx="11090274" cy="4031976"/>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7" name="Date Placeholder 6"/>
          <p:cNvSpPr>
            <a:spLocks noGrp="1"/>
          </p:cNvSpPr>
          <p:nvPr>
            <p:ph type="dt" sz="half" idx="10"/>
          </p:nvPr>
        </p:nvSpPr>
        <p:spPr/>
        <p:txBody>
          <a:bodyPr/>
          <a:lstStyle/>
          <a:p>
            <a:fld id="{F30C5CB8-7C50-4F4F-B76D-095647875652}" type="datetime1">
              <a:rPr lang="en-US" smtClean="0"/>
              <a:t>5/29/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90E5A77-D385-4CDE-8FE8-D3E3CBE93E71}" type="slidenum">
              <a:rPr lang="en-US" smtClean="0"/>
              <a:t>‹#›</a:t>
            </a:fld>
            <a:endParaRPr lang="en-US"/>
          </a:p>
        </p:txBody>
      </p:sp>
      <p:sp>
        <p:nvSpPr>
          <p:cNvPr id="2" name="Title 1"/>
          <p:cNvSpPr>
            <a:spLocks noGrp="1"/>
          </p:cNvSpPr>
          <p:nvPr>
            <p:ph type="title"/>
          </p:nvPr>
        </p:nvSpPr>
        <p:spPr/>
        <p:txBody>
          <a:bodyPr/>
          <a:lstStyle/>
          <a:p>
            <a:r>
              <a:rPr lang="nb-NO"/>
              <a:t>Klikk for å redigere tittelstil</a:t>
            </a:r>
            <a:endParaRPr lang="en-GB"/>
          </a:p>
        </p:txBody>
      </p:sp>
    </p:spTree>
    <p:extLst>
      <p:ext uri="{BB962C8B-B14F-4D97-AF65-F5344CB8AC3E}">
        <p14:creationId xmlns:p14="http://schemas.microsoft.com/office/powerpoint/2010/main" val="35422417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_content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50866" y="1484313"/>
            <a:ext cx="5401121" cy="4608512"/>
          </a:xfrm>
        </p:spPr>
        <p:txBody>
          <a:body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Content Placeholder 3"/>
          <p:cNvSpPr>
            <a:spLocks noGrp="1"/>
          </p:cNvSpPr>
          <p:nvPr>
            <p:ph sz="half" idx="2"/>
          </p:nvPr>
        </p:nvSpPr>
        <p:spPr>
          <a:xfrm>
            <a:off x="6240016" y="1484313"/>
            <a:ext cx="5401122" cy="4608512"/>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16D21918-D408-4904-88D9-D0D5917E0717}" type="datetime1">
              <a:rPr lang="en-US" smtClean="0"/>
              <a:t>5/29/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0E5A77-D385-4CDE-8FE8-D3E3CBE93E71}" type="slidenum">
              <a:rPr lang="en-US" smtClean="0"/>
              <a:t>‹#›</a:t>
            </a:fld>
            <a:endParaRPr lang="en-US"/>
          </a:p>
        </p:txBody>
      </p:sp>
      <p:cxnSp>
        <p:nvCxnSpPr>
          <p:cNvPr id="9" name="Straight Connector 8"/>
          <p:cNvCxnSpPr/>
          <p:nvPr userDrawn="1"/>
        </p:nvCxnSpPr>
        <p:spPr>
          <a:xfrm>
            <a:off x="6096000" y="1484313"/>
            <a:ext cx="0" cy="4608512"/>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p:nvPr>
        </p:nvSpPr>
        <p:spPr/>
        <p:txBody>
          <a:bodyPr/>
          <a:lstStyle/>
          <a:p>
            <a:r>
              <a:rPr lang="nb-NO"/>
              <a:t>Klikk for å redigere tittelstil</a:t>
            </a:r>
            <a:endParaRPr lang="en-GB"/>
          </a:p>
        </p:txBody>
      </p:sp>
    </p:spTree>
    <p:extLst>
      <p:ext uri="{BB962C8B-B14F-4D97-AF65-F5344CB8AC3E}">
        <p14:creationId xmlns:p14="http://schemas.microsoft.com/office/powerpoint/2010/main" val="19352112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mparison ">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50863" y="1484316"/>
            <a:ext cx="5401122" cy="575767"/>
          </a:xfrm>
        </p:spPr>
        <p:txBody>
          <a:bodyPr anchor="t" anchorCtr="0"/>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Content Placeholder 3"/>
          <p:cNvSpPr>
            <a:spLocks noGrp="1"/>
          </p:cNvSpPr>
          <p:nvPr>
            <p:ph sz="half" idx="2"/>
          </p:nvPr>
        </p:nvSpPr>
        <p:spPr>
          <a:xfrm>
            <a:off x="550863" y="2060849"/>
            <a:ext cx="5401122" cy="4031976"/>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Text Placeholder 4"/>
          <p:cNvSpPr>
            <a:spLocks noGrp="1"/>
          </p:cNvSpPr>
          <p:nvPr>
            <p:ph type="body" sz="quarter" idx="3"/>
          </p:nvPr>
        </p:nvSpPr>
        <p:spPr>
          <a:xfrm>
            <a:off x="6240016" y="1484316"/>
            <a:ext cx="5401122" cy="575767"/>
          </a:xfrm>
        </p:spPr>
        <p:txBody>
          <a:bodyPr anchor="t" anchorCtr="0"/>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Content Placeholder 5"/>
          <p:cNvSpPr>
            <a:spLocks noGrp="1"/>
          </p:cNvSpPr>
          <p:nvPr>
            <p:ph sz="quarter" idx="4"/>
          </p:nvPr>
        </p:nvSpPr>
        <p:spPr>
          <a:xfrm>
            <a:off x="6240016" y="2060851"/>
            <a:ext cx="5401122" cy="4031977"/>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7" name="Date Placeholder 6"/>
          <p:cNvSpPr>
            <a:spLocks noGrp="1"/>
          </p:cNvSpPr>
          <p:nvPr>
            <p:ph type="dt" sz="half" idx="10"/>
          </p:nvPr>
        </p:nvSpPr>
        <p:spPr/>
        <p:txBody>
          <a:bodyPr/>
          <a:lstStyle/>
          <a:p>
            <a:fld id="{48E3B4A1-B525-4542-9D1B-DA0412B20B98}" type="datetime1">
              <a:rPr lang="en-US" smtClean="0"/>
              <a:t>5/29/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90E5A77-D385-4CDE-8FE8-D3E3CBE93E71}" type="slidenum">
              <a:rPr lang="en-US" smtClean="0"/>
              <a:t>‹#›</a:t>
            </a:fld>
            <a:endParaRPr lang="en-US"/>
          </a:p>
        </p:txBody>
      </p:sp>
      <p:cxnSp>
        <p:nvCxnSpPr>
          <p:cNvPr id="11" name="Straight Connector 10"/>
          <p:cNvCxnSpPr/>
          <p:nvPr userDrawn="1"/>
        </p:nvCxnSpPr>
        <p:spPr>
          <a:xfrm>
            <a:off x="6096000" y="1484313"/>
            <a:ext cx="0" cy="4608512"/>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nb-NO"/>
              <a:t>Klikk for å redigere tittelstil</a:t>
            </a:r>
            <a:endParaRPr lang="en-GB"/>
          </a:p>
        </p:txBody>
      </p:sp>
    </p:spTree>
    <p:extLst>
      <p:ext uri="{BB962C8B-B14F-4D97-AF65-F5344CB8AC3E}">
        <p14:creationId xmlns:p14="http://schemas.microsoft.com/office/powerpoint/2010/main" val="1746564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_contents ">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50864" y="1484316"/>
            <a:ext cx="3528913" cy="575767"/>
          </a:xfrm>
        </p:spPr>
        <p:txBody>
          <a:bodyPr anchor="t" anchorCtr="0"/>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Content Placeholder 3"/>
          <p:cNvSpPr>
            <a:spLocks noGrp="1"/>
          </p:cNvSpPr>
          <p:nvPr>
            <p:ph sz="half" idx="2"/>
          </p:nvPr>
        </p:nvSpPr>
        <p:spPr>
          <a:xfrm>
            <a:off x="550864" y="2060578"/>
            <a:ext cx="3528913" cy="4032249"/>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6" name="Content Placeholder 5"/>
          <p:cNvSpPr>
            <a:spLocks noGrp="1"/>
          </p:cNvSpPr>
          <p:nvPr>
            <p:ph sz="quarter" idx="4"/>
          </p:nvPr>
        </p:nvSpPr>
        <p:spPr>
          <a:xfrm>
            <a:off x="4367760" y="2060810"/>
            <a:ext cx="3456000" cy="4032249"/>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15" name="Text Placeholder 2"/>
          <p:cNvSpPr>
            <a:spLocks noGrp="1"/>
          </p:cNvSpPr>
          <p:nvPr>
            <p:ph type="body" idx="13"/>
          </p:nvPr>
        </p:nvSpPr>
        <p:spPr>
          <a:xfrm>
            <a:off x="8112280" y="1484730"/>
            <a:ext cx="3528490" cy="575767"/>
          </a:xfrm>
        </p:spPr>
        <p:txBody>
          <a:bodyPr anchor="t" anchorCtr="0"/>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5" name="Text Placeholder 4"/>
          <p:cNvSpPr>
            <a:spLocks noGrp="1"/>
          </p:cNvSpPr>
          <p:nvPr>
            <p:ph type="body" sz="quarter" idx="3"/>
          </p:nvPr>
        </p:nvSpPr>
        <p:spPr>
          <a:xfrm>
            <a:off x="4367760" y="1484730"/>
            <a:ext cx="3456480" cy="575767"/>
          </a:xfrm>
        </p:spPr>
        <p:txBody>
          <a:bodyPr anchor="t" anchorCtr="0"/>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16" name="Content Placeholder 3"/>
          <p:cNvSpPr>
            <a:spLocks noGrp="1"/>
          </p:cNvSpPr>
          <p:nvPr>
            <p:ph sz="half" idx="14"/>
          </p:nvPr>
        </p:nvSpPr>
        <p:spPr>
          <a:xfrm>
            <a:off x="8112280" y="2060810"/>
            <a:ext cx="3528000" cy="4032249"/>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cxnSp>
        <p:nvCxnSpPr>
          <p:cNvPr id="17" name="Straight Connector 16"/>
          <p:cNvCxnSpPr/>
          <p:nvPr userDrawn="1"/>
        </p:nvCxnSpPr>
        <p:spPr>
          <a:xfrm>
            <a:off x="4223792" y="1484313"/>
            <a:ext cx="0" cy="4608512"/>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7968208" y="1484313"/>
            <a:ext cx="0" cy="4608512"/>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nb-NO"/>
              <a:t>Klikk for å redigere tittelstil</a:t>
            </a:r>
            <a:endParaRPr lang="en-GB"/>
          </a:p>
        </p:txBody>
      </p:sp>
      <p:sp>
        <p:nvSpPr>
          <p:cNvPr id="10" name="Date Placeholder 9"/>
          <p:cNvSpPr>
            <a:spLocks noGrp="1"/>
          </p:cNvSpPr>
          <p:nvPr>
            <p:ph type="dt" sz="half" idx="15"/>
          </p:nvPr>
        </p:nvSpPr>
        <p:spPr/>
        <p:txBody>
          <a:bodyPr/>
          <a:lstStyle/>
          <a:p>
            <a:fld id="{8BF2FB3D-F1E0-49B1-9E7B-68A22CAF1D5E}" type="datetime1">
              <a:rPr lang="en-US" smtClean="0"/>
              <a:pPr/>
              <a:t>5/29/19</a:t>
            </a:fld>
            <a:endParaRPr lang="en-US"/>
          </a:p>
        </p:txBody>
      </p:sp>
      <p:sp>
        <p:nvSpPr>
          <p:cNvPr id="11" name="Footer Placeholder 10"/>
          <p:cNvSpPr>
            <a:spLocks noGrp="1"/>
          </p:cNvSpPr>
          <p:nvPr>
            <p:ph type="ftr" sz="quarter" idx="16"/>
          </p:nvPr>
        </p:nvSpPr>
        <p:spPr/>
        <p:txBody>
          <a:bodyPr/>
          <a:lstStyle/>
          <a:p>
            <a:endParaRPr lang="en-US"/>
          </a:p>
        </p:txBody>
      </p:sp>
      <p:sp>
        <p:nvSpPr>
          <p:cNvPr id="12" name="Slide Number Placeholder 11"/>
          <p:cNvSpPr>
            <a:spLocks noGrp="1"/>
          </p:cNvSpPr>
          <p:nvPr>
            <p:ph type="sldNum" sz="quarter" idx="17"/>
          </p:nvPr>
        </p:nvSpPr>
        <p:spPr/>
        <p:txBody>
          <a:bodyPr/>
          <a:lstStyle/>
          <a:p>
            <a:fld id="{F90E5A77-D385-4CDE-8FE8-D3E3CBE93E71}" type="slidenum">
              <a:rPr lang="en-US" smtClean="0"/>
              <a:pPr/>
              <a:t>‹#›</a:t>
            </a:fld>
            <a:endParaRPr lang="en-US"/>
          </a:p>
        </p:txBody>
      </p:sp>
    </p:spTree>
    <p:extLst>
      <p:ext uri="{BB962C8B-B14F-4D97-AF65-F5344CB8AC3E}">
        <p14:creationId xmlns:p14="http://schemas.microsoft.com/office/powerpoint/2010/main" val="32677004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_and_picture ">
    <p:spTree>
      <p:nvGrpSpPr>
        <p:cNvPr id="1" name=""/>
        <p:cNvGrpSpPr/>
        <p:nvPr/>
      </p:nvGrpSpPr>
      <p:grpSpPr>
        <a:xfrm>
          <a:off x="0" y="0"/>
          <a:ext cx="0" cy="0"/>
          <a:chOff x="0" y="0"/>
          <a:chExt cx="0" cy="0"/>
        </a:xfrm>
      </p:grpSpPr>
      <p:sp>
        <p:nvSpPr>
          <p:cNvPr id="3" name="Content Placeholder 2"/>
          <p:cNvSpPr>
            <a:spLocks noGrp="1"/>
          </p:cNvSpPr>
          <p:nvPr>
            <p:ph idx="1"/>
          </p:nvPr>
        </p:nvSpPr>
        <p:spPr>
          <a:xfrm>
            <a:off x="550866" y="1484313"/>
            <a:ext cx="5401121" cy="4608512"/>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fld id="{89C6D9BF-4C85-4346-807E-60C348958744}" type="datetime1">
              <a:rPr lang="en-US" smtClean="0"/>
              <a:t>5/2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0E5A77-D385-4CDE-8FE8-D3E3CBE93E71}" type="slidenum">
              <a:rPr lang="en-US" smtClean="0"/>
              <a:t>‹#›</a:t>
            </a:fld>
            <a:endParaRPr lang="en-US"/>
          </a:p>
        </p:txBody>
      </p:sp>
      <p:sp>
        <p:nvSpPr>
          <p:cNvPr id="8" name="Picture Placeholder 7"/>
          <p:cNvSpPr>
            <a:spLocks noGrp="1"/>
          </p:cNvSpPr>
          <p:nvPr>
            <p:ph type="pic" sz="quarter" idx="13"/>
          </p:nvPr>
        </p:nvSpPr>
        <p:spPr>
          <a:xfrm>
            <a:off x="6240018" y="4"/>
            <a:ext cx="5951984" cy="6092825"/>
          </a:xfrm>
          <a:solidFill>
            <a:srgbClr val="EAEAEA"/>
          </a:solidFill>
        </p:spPr>
        <p:txBody>
          <a:bodyPr>
            <a:normAutofit/>
          </a:bodyPr>
          <a:lstStyle>
            <a:lvl1pPr marL="0" indent="0">
              <a:buFontTx/>
              <a:buNone/>
              <a:defRPr sz="1200">
                <a:solidFill>
                  <a:schemeClr val="tx1"/>
                </a:solidFill>
              </a:defRPr>
            </a:lvl1pPr>
          </a:lstStyle>
          <a:p>
            <a:r>
              <a:rPr lang="nb-NO"/>
              <a:t>Klikk ikonet for å legge til et bilde</a:t>
            </a:r>
            <a:endParaRPr lang="en-GB"/>
          </a:p>
        </p:txBody>
      </p:sp>
      <p:sp>
        <p:nvSpPr>
          <p:cNvPr id="7" name="Title 6"/>
          <p:cNvSpPr>
            <a:spLocks noGrp="1"/>
          </p:cNvSpPr>
          <p:nvPr>
            <p:ph type="title"/>
          </p:nvPr>
        </p:nvSpPr>
        <p:spPr>
          <a:xfrm>
            <a:off x="550866" y="476250"/>
            <a:ext cx="5401121" cy="720502"/>
          </a:xfrm>
        </p:spPr>
        <p:txBody>
          <a:bodyPr/>
          <a:lstStyle/>
          <a:p>
            <a:r>
              <a:rPr lang="nb-NO"/>
              <a:t>Klikk for å redigere tittelstil</a:t>
            </a:r>
            <a:endParaRPr lang="en-GB" dirty="0"/>
          </a:p>
        </p:txBody>
      </p:sp>
    </p:spTree>
    <p:extLst>
      <p:ext uri="{BB962C8B-B14F-4D97-AF65-F5344CB8AC3E}">
        <p14:creationId xmlns:p14="http://schemas.microsoft.com/office/powerpoint/2010/main" val="32589230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grpSp>
        <p:nvGrpSpPr>
          <p:cNvPr id="31"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 name="cdtRectangle 115 Id57350"/>
          <p:cNvSpPr>
            <a:spLocks noGrp="1" noChangeArrowheads="1"/>
          </p:cNvSpPr>
          <p:nvPr>
            <p:ph type="ctrTitle"/>
            <p:custDataLst>
              <p:tags r:id="rId2"/>
            </p:custDataLst>
          </p:nvPr>
        </p:nvSpPr>
        <p:spPr bwMode="ltGray">
          <a:xfrm>
            <a:off x="626736" y="4569350"/>
            <a:ext cx="6476627" cy="166256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a:t>Mastertitelformat bearbeiten</a:t>
            </a:r>
            <a:endParaRPr lang="en-US" dirty="0"/>
          </a:p>
        </p:txBody>
      </p:sp>
      <p:grpSp>
        <p:nvGrpSpPr>
          <p:cNvPr id="28" name="Group 33"/>
          <p:cNvGrpSpPr>
            <a:grpSpLocks noChangeAspect="1"/>
          </p:cNvGrpSpPr>
          <p:nvPr userDrawn="1"/>
        </p:nvGrpSpPr>
        <p:grpSpPr bwMode="auto">
          <a:xfrm>
            <a:off x="9550189" y="323850"/>
            <a:ext cx="2157876" cy="914400"/>
            <a:chOff x="6019" y="204"/>
            <a:chExt cx="1360" cy="576"/>
          </a:xfrm>
        </p:grpSpPr>
        <p:sp>
          <p:nvSpPr>
            <p:cNvPr id="33"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34"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grpSp>
    </p:spTree>
    <p:extLst>
      <p:ext uri="{BB962C8B-B14F-4D97-AF65-F5344CB8AC3E}">
        <p14:creationId xmlns:p14="http://schemas.microsoft.com/office/powerpoint/2010/main" val="685399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_and_picture_small">
    <p:spTree>
      <p:nvGrpSpPr>
        <p:cNvPr id="1" name=""/>
        <p:cNvGrpSpPr/>
        <p:nvPr/>
      </p:nvGrpSpPr>
      <p:grpSpPr>
        <a:xfrm>
          <a:off x="0" y="0"/>
          <a:ext cx="0" cy="0"/>
          <a:chOff x="0" y="0"/>
          <a:chExt cx="0" cy="0"/>
        </a:xfrm>
      </p:grpSpPr>
      <p:sp>
        <p:nvSpPr>
          <p:cNvPr id="3" name="Content Placeholder 2"/>
          <p:cNvSpPr>
            <a:spLocks noGrp="1"/>
          </p:cNvSpPr>
          <p:nvPr>
            <p:ph idx="1"/>
          </p:nvPr>
        </p:nvSpPr>
        <p:spPr>
          <a:xfrm>
            <a:off x="550866" y="1484313"/>
            <a:ext cx="5401121" cy="4608512"/>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fld id="{F9CB7E00-B945-4F51-A85F-AE4A9763A703}" type="datetime1">
              <a:rPr lang="en-US" smtClean="0"/>
              <a:t>5/2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0E5A77-D385-4CDE-8FE8-D3E3CBE93E71}" type="slidenum">
              <a:rPr lang="en-US" smtClean="0"/>
              <a:t>‹#›</a:t>
            </a:fld>
            <a:endParaRPr lang="en-US"/>
          </a:p>
        </p:txBody>
      </p:sp>
      <p:sp>
        <p:nvSpPr>
          <p:cNvPr id="8" name="Picture Placeholder 7"/>
          <p:cNvSpPr>
            <a:spLocks noGrp="1"/>
          </p:cNvSpPr>
          <p:nvPr>
            <p:ph type="pic" sz="quarter" idx="13"/>
          </p:nvPr>
        </p:nvSpPr>
        <p:spPr>
          <a:xfrm>
            <a:off x="6240016" y="1484314"/>
            <a:ext cx="5401122" cy="4608512"/>
          </a:xfrm>
          <a:solidFill>
            <a:srgbClr val="EAEAEA"/>
          </a:solidFill>
        </p:spPr>
        <p:txBody>
          <a:bodyPr>
            <a:normAutofit/>
          </a:bodyPr>
          <a:lstStyle>
            <a:lvl1pPr marL="0" indent="0">
              <a:buFontTx/>
              <a:buNone/>
              <a:defRPr sz="1200">
                <a:solidFill>
                  <a:schemeClr val="tx1"/>
                </a:solidFill>
              </a:defRPr>
            </a:lvl1pPr>
          </a:lstStyle>
          <a:p>
            <a:r>
              <a:rPr lang="nb-NO"/>
              <a:t>Klikk ikonet for å legge til et bilde</a:t>
            </a:r>
            <a:endParaRPr lang="en-GB"/>
          </a:p>
        </p:txBody>
      </p:sp>
      <p:sp>
        <p:nvSpPr>
          <p:cNvPr id="7" name="Title 6"/>
          <p:cNvSpPr>
            <a:spLocks noGrp="1"/>
          </p:cNvSpPr>
          <p:nvPr>
            <p:ph type="title"/>
          </p:nvPr>
        </p:nvSpPr>
        <p:spPr/>
        <p:txBody>
          <a:bodyPr/>
          <a:lstStyle/>
          <a:p>
            <a:r>
              <a:rPr lang="nb-NO"/>
              <a:t>Klikk for å redigere tittelstil</a:t>
            </a:r>
            <a:endParaRPr lang="en-GB"/>
          </a:p>
        </p:txBody>
      </p:sp>
    </p:spTree>
    <p:extLst>
      <p:ext uri="{BB962C8B-B14F-4D97-AF65-F5344CB8AC3E}">
        <p14:creationId xmlns:p14="http://schemas.microsoft.com/office/powerpoint/2010/main" val="10233993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_and_picture ">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EFC8544-27E6-405F-B70F-BD9AC13D8610}" type="datetime1">
              <a:rPr lang="en-US" smtClean="0"/>
              <a:t>5/2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0E5A77-D385-4CDE-8FE8-D3E3CBE93E71}" type="slidenum">
              <a:rPr lang="en-US" smtClean="0"/>
              <a:t>‹#›</a:t>
            </a:fld>
            <a:endParaRPr lang="en-US"/>
          </a:p>
        </p:txBody>
      </p:sp>
      <p:sp>
        <p:nvSpPr>
          <p:cNvPr id="8" name="Picture Placeholder 7"/>
          <p:cNvSpPr>
            <a:spLocks noGrp="1"/>
          </p:cNvSpPr>
          <p:nvPr>
            <p:ph type="pic" sz="quarter" idx="13"/>
          </p:nvPr>
        </p:nvSpPr>
        <p:spPr>
          <a:xfrm>
            <a:off x="550864" y="1484314"/>
            <a:ext cx="11090274" cy="4608512"/>
          </a:xfrm>
          <a:solidFill>
            <a:srgbClr val="EAEAEA"/>
          </a:solidFill>
        </p:spPr>
        <p:txBody>
          <a:bodyPr>
            <a:normAutofit/>
          </a:bodyPr>
          <a:lstStyle>
            <a:lvl1pPr marL="0" indent="0">
              <a:buFontTx/>
              <a:buNone/>
              <a:defRPr sz="1200">
                <a:solidFill>
                  <a:schemeClr val="tx1"/>
                </a:solidFill>
              </a:defRPr>
            </a:lvl1pPr>
          </a:lstStyle>
          <a:p>
            <a:r>
              <a:rPr lang="nb-NO"/>
              <a:t>Klikk ikonet for å legge til et bilde</a:t>
            </a:r>
            <a:endParaRPr lang="en-GB"/>
          </a:p>
        </p:txBody>
      </p:sp>
      <p:sp>
        <p:nvSpPr>
          <p:cNvPr id="3" name="Title 2"/>
          <p:cNvSpPr>
            <a:spLocks noGrp="1"/>
          </p:cNvSpPr>
          <p:nvPr>
            <p:ph type="title"/>
          </p:nvPr>
        </p:nvSpPr>
        <p:spPr/>
        <p:txBody>
          <a:bodyPr/>
          <a:lstStyle/>
          <a:p>
            <a:r>
              <a:rPr lang="nb-NO"/>
              <a:t>Klikk for å redigere tittelstil</a:t>
            </a:r>
            <a:endParaRPr lang="en-GB"/>
          </a:p>
        </p:txBody>
      </p:sp>
    </p:spTree>
    <p:extLst>
      <p:ext uri="{BB962C8B-B14F-4D97-AF65-F5344CB8AC3E}">
        <p14:creationId xmlns:p14="http://schemas.microsoft.com/office/powerpoint/2010/main" val="34289869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ontent_and_half_picture">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6240018" y="4"/>
            <a:ext cx="5951984" cy="6857996"/>
          </a:xfrm>
          <a:solidFill>
            <a:srgbClr val="EAEAEA"/>
          </a:solidFill>
        </p:spPr>
        <p:txBody>
          <a:bodyPr>
            <a:normAutofit/>
          </a:bodyPr>
          <a:lstStyle>
            <a:lvl1pPr marL="0" indent="0">
              <a:buFontTx/>
              <a:buNone/>
              <a:defRPr sz="1200">
                <a:solidFill>
                  <a:schemeClr val="tx1"/>
                </a:solidFill>
              </a:defRPr>
            </a:lvl1pPr>
          </a:lstStyle>
          <a:p>
            <a:r>
              <a:rPr lang="nb-NO"/>
              <a:t>Klikk ikonet for å legge til et bilde</a:t>
            </a:r>
            <a:endParaRPr lang="en-GB"/>
          </a:p>
        </p:txBody>
      </p:sp>
      <p:sp>
        <p:nvSpPr>
          <p:cNvPr id="3" name="Content Placeholder 2"/>
          <p:cNvSpPr>
            <a:spLocks noGrp="1"/>
          </p:cNvSpPr>
          <p:nvPr>
            <p:ph idx="1"/>
          </p:nvPr>
        </p:nvSpPr>
        <p:spPr>
          <a:xfrm>
            <a:off x="550866" y="1484313"/>
            <a:ext cx="5401121" cy="4608512"/>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fld id="{89C6D9BF-4C85-4346-807E-60C348958744}" type="datetime1">
              <a:rPr lang="en-US" smtClean="0"/>
              <a:t>5/2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0E5A77-D385-4CDE-8FE8-D3E3CBE93E71}" type="slidenum">
              <a:rPr lang="en-US" smtClean="0"/>
              <a:t>‹#›</a:t>
            </a:fld>
            <a:endParaRPr lang="en-US"/>
          </a:p>
        </p:txBody>
      </p:sp>
      <p:sp>
        <p:nvSpPr>
          <p:cNvPr id="7" name="Title 6"/>
          <p:cNvSpPr>
            <a:spLocks noGrp="1"/>
          </p:cNvSpPr>
          <p:nvPr>
            <p:ph type="title"/>
          </p:nvPr>
        </p:nvSpPr>
        <p:spPr>
          <a:xfrm>
            <a:off x="550866" y="476250"/>
            <a:ext cx="5401121" cy="720502"/>
          </a:xfrm>
        </p:spPr>
        <p:txBody>
          <a:bodyPr/>
          <a:lstStyle/>
          <a:p>
            <a:r>
              <a:rPr lang="nb-NO"/>
              <a:t>Klikk for å redigere tittelstil</a:t>
            </a:r>
            <a:endParaRPr lang="en-GB" dirty="0"/>
          </a:p>
        </p:txBody>
      </p:sp>
      <p:sp>
        <p:nvSpPr>
          <p:cNvPr id="9" name="Text Placeholder 21"/>
          <p:cNvSpPr>
            <a:spLocks noGrp="1"/>
          </p:cNvSpPr>
          <p:nvPr>
            <p:ph type="body" sz="quarter" idx="15" hasCustomPrompt="1"/>
          </p:nvPr>
        </p:nvSpPr>
        <p:spPr>
          <a:xfrm>
            <a:off x="10418400" y="6307200"/>
            <a:ext cx="1216800" cy="288000"/>
          </a:xfrm>
          <a:blipFill>
            <a:blip r:embed="rId2" cstate="screen">
              <a:extLst>
                <a:ext uri="{28A0092B-C50C-407E-A947-70E740481C1C}">
                  <a14:useLocalDpi xmlns:a14="http://schemas.microsoft.com/office/drawing/2010/main"/>
                </a:ext>
              </a:extLst>
            </a:blip>
            <a:stretch>
              <a:fillRect/>
            </a:stretch>
          </a:blipFill>
          <a:effectLst>
            <a:outerShdw blurRad="254000" algn="ctr" rotWithShape="0">
              <a:prstClr val="black">
                <a:alpha val="35000"/>
              </a:prstClr>
            </a:outerShdw>
          </a:effectLst>
        </p:spPr>
        <p:txBody>
          <a:bodyPr>
            <a:normAutofit/>
          </a:bodyPr>
          <a:lstStyle>
            <a:lvl1pPr marL="0" indent="0">
              <a:buFontTx/>
              <a:buNone/>
              <a:defRPr sz="200">
                <a:noFill/>
              </a:defRPr>
            </a:lvl1pPr>
          </a:lstStyle>
          <a:p>
            <a:pPr lvl="0"/>
            <a:r>
              <a:rPr lang="fi-FI" dirty="0"/>
              <a:t> </a:t>
            </a:r>
          </a:p>
        </p:txBody>
      </p:sp>
    </p:spTree>
    <p:extLst>
      <p:ext uri="{BB962C8B-B14F-4D97-AF65-F5344CB8AC3E}">
        <p14:creationId xmlns:p14="http://schemas.microsoft.com/office/powerpoint/2010/main" val="4209570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ent_and_full_picture">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2000" cy="6858000"/>
          </a:xfrm>
          <a:blipFill>
            <a:blip r:embed="rId2"/>
            <a:stretch>
              <a:fillRect/>
            </a:stretch>
          </a:blipFill>
        </p:spPr>
        <p:txBody>
          <a:bodyPr>
            <a:normAutofit/>
          </a:bodyPr>
          <a:lstStyle>
            <a:lvl1pPr marL="0" marR="0" indent="0" algn="l" defTabSz="914400" rtl="0" eaLnBrk="1" fontAlgn="auto" latinLnBrk="0" hangingPunct="1">
              <a:lnSpc>
                <a:spcPct val="100000"/>
              </a:lnSpc>
              <a:spcBef>
                <a:spcPts val="800"/>
              </a:spcBef>
              <a:spcAft>
                <a:spcPts val="0"/>
              </a:spcAft>
              <a:buClr>
                <a:schemeClr val="accent2"/>
              </a:buClr>
              <a:buSzTx/>
              <a:buFontTx/>
              <a:buNone/>
              <a:tabLst/>
              <a:defRPr sz="1200"/>
            </a:lvl1pPr>
          </a:lstStyle>
          <a:p>
            <a:r>
              <a:rPr lang="en-US"/>
              <a:t>Select shape and insert picture to change it</a:t>
            </a:r>
            <a:endParaRPr lang="en-GB"/>
          </a:p>
        </p:txBody>
      </p:sp>
      <p:sp>
        <p:nvSpPr>
          <p:cNvPr id="2" name="Title 1"/>
          <p:cNvSpPr>
            <a:spLocks noGrp="1"/>
          </p:cNvSpPr>
          <p:nvPr>
            <p:ph type="title"/>
          </p:nvPr>
        </p:nvSpPr>
        <p:spPr/>
        <p:txBody>
          <a:bodyPr/>
          <a:lstStyle/>
          <a:p>
            <a:r>
              <a:rPr lang="nb-NO"/>
              <a:t>Klikk for å redigere tittelstil</a:t>
            </a:r>
            <a:endParaRPr lang="en-US" dirty="0"/>
          </a:p>
        </p:txBody>
      </p:sp>
      <p:sp>
        <p:nvSpPr>
          <p:cNvPr id="3" name="Content Placeholder 2"/>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10"/>
          </p:nvPr>
        </p:nvSpPr>
        <p:spPr/>
        <p:txBody>
          <a:bodyPr/>
          <a:lstStyle/>
          <a:p>
            <a:fld id="{7D121CAF-D317-4DCC-A77F-86D12F3B7C99}" type="datetime1">
              <a:rPr lang="en-US" smtClean="0"/>
              <a:t>5/2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0E5A77-D385-4CDE-8FE8-D3E3CBE93E71}" type="slidenum">
              <a:rPr lang="en-US" smtClean="0"/>
              <a:t>‹#›</a:t>
            </a:fld>
            <a:endParaRPr lang="en-US"/>
          </a:p>
        </p:txBody>
      </p:sp>
      <p:sp>
        <p:nvSpPr>
          <p:cNvPr id="12" name="Text Placeholder 21"/>
          <p:cNvSpPr>
            <a:spLocks noGrp="1"/>
          </p:cNvSpPr>
          <p:nvPr>
            <p:ph type="body" sz="quarter" idx="15" hasCustomPrompt="1"/>
          </p:nvPr>
        </p:nvSpPr>
        <p:spPr>
          <a:xfrm>
            <a:off x="10418400" y="6307200"/>
            <a:ext cx="1216800" cy="288000"/>
          </a:xfrm>
          <a:blipFill>
            <a:blip r:embed="rId3" cstate="screen">
              <a:extLst>
                <a:ext uri="{28A0092B-C50C-407E-A947-70E740481C1C}">
                  <a14:useLocalDpi xmlns:a14="http://schemas.microsoft.com/office/drawing/2010/main"/>
                </a:ext>
              </a:extLst>
            </a:blip>
            <a:stretch>
              <a:fillRect/>
            </a:stretch>
          </a:blipFill>
        </p:spPr>
        <p:txBody>
          <a:bodyPr>
            <a:normAutofit/>
          </a:bodyPr>
          <a:lstStyle>
            <a:lvl1pPr marL="0" indent="0">
              <a:buFontTx/>
              <a:buNone/>
              <a:defRPr sz="200">
                <a:noFill/>
              </a:defRPr>
            </a:lvl1pPr>
          </a:lstStyle>
          <a:p>
            <a:pPr lvl="0"/>
            <a:r>
              <a:rPr lang="fi-FI" dirty="0"/>
              <a:t> </a:t>
            </a:r>
          </a:p>
        </p:txBody>
      </p:sp>
    </p:spTree>
    <p:extLst>
      <p:ext uri="{BB962C8B-B14F-4D97-AF65-F5344CB8AC3E}">
        <p14:creationId xmlns:p14="http://schemas.microsoft.com/office/powerpoint/2010/main" val="38344895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ntent_and_nega_full_picture">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2000" cy="6858000"/>
          </a:xfrm>
          <a:blipFill>
            <a:blip r:embed="rId2"/>
            <a:stretch>
              <a:fillRect/>
            </a:stretch>
          </a:blipFill>
        </p:spPr>
        <p:txBody>
          <a:bodyPr>
            <a:normAutofit/>
          </a:bodyPr>
          <a:lstStyle>
            <a:lvl1pPr marL="0" marR="0" indent="0" algn="l" defTabSz="914400" rtl="0" eaLnBrk="1" fontAlgn="auto" latinLnBrk="0" hangingPunct="1">
              <a:lnSpc>
                <a:spcPct val="100000"/>
              </a:lnSpc>
              <a:spcBef>
                <a:spcPts val="800"/>
              </a:spcBef>
              <a:spcAft>
                <a:spcPts val="0"/>
              </a:spcAft>
              <a:buClr>
                <a:schemeClr val="accent2"/>
              </a:buClr>
              <a:buSzTx/>
              <a:buFontTx/>
              <a:buNone/>
              <a:tabLst/>
              <a:defRPr sz="1200" baseline="0">
                <a:solidFill>
                  <a:schemeClr val="bg1"/>
                </a:solidFill>
              </a:defRPr>
            </a:lvl1pPr>
          </a:lstStyle>
          <a:p>
            <a:r>
              <a:rPr lang="en-US"/>
              <a:t>Select shape and insert picture to change it</a:t>
            </a:r>
            <a:endParaRPr lang="en-GB"/>
          </a:p>
        </p:txBody>
      </p:sp>
      <p:sp>
        <p:nvSpPr>
          <p:cNvPr id="2" name="Title 1"/>
          <p:cNvSpPr>
            <a:spLocks noGrp="1"/>
          </p:cNvSpPr>
          <p:nvPr>
            <p:ph type="title"/>
          </p:nvPr>
        </p:nvSpPr>
        <p:spPr/>
        <p:txBody>
          <a:bodyPr/>
          <a:lstStyle>
            <a:lvl1pPr>
              <a:buClr>
                <a:schemeClr val="bg1"/>
              </a:buClr>
              <a:defRPr>
                <a:solidFill>
                  <a:schemeClr val="bg1"/>
                </a:solidFill>
                <a:effectLst>
                  <a:outerShdw blurRad="254000" algn="ctr" rotWithShape="0">
                    <a:prstClr val="black">
                      <a:alpha val="35000"/>
                    </a:prstClr>
                  </a:outerShdw>
                </a:effectLst>
              </a:defRPr>
            </a:lvl1pPr>
          </a:lstStyle>
          <a:p>
            <a:r>
              <a:rPr lang="nb-NO"/>
              <a:t>Klikk for å redigere tittelstil</a:t>
            </a:r>
            <a:endParaRPr lang="en-US" dirty="0"/>
          </a:p>
        </p:txBody>
      </p:sp>
      <p:sp>
        <p:nvSpPr>
          <p:cNvPr id="3" name="Content Placeholder 2"/>
          <p:cNvSpPr>
            <a:spLocks noGrp="1"/>
          </p:cNvSpPr>
          <p:nvPr>
            <p:ph idx="1"/>
          </p:nvPr>
        </p:nvSpPr>
        <p:spPr/>
        <p:txBody>
          <a:bodyPr/>
          <a:lstStyle>
            <a:lvl1pPr>
              <a:buClr>
                <a:schemeClr val="bg1"/>
              </a:buClr>
              <a:defRPr>
                <a:solidFill>
                  <a:schemeClr val="bg1"/>
                </a:solidFill>
                <a:effectLst>
                  <a:outerShdw blurRad="254000" algn="ctr" rotWithShape="0">
                    <a:prstClr val="black">
                      <a:alpha val="35000"/>
                    </a:prstClr>
                  </a:outerShdw>
                </a:effectLst>
              </a:defRPr>
            </a:lvl1pPr>
            <a:lvl2pPr>
              <a:buClr>
                <a:schemeClr val="bg1"/>
              </a:buClr>
              <a:defRPr>
                <a:solidFill>
                  <a:schemeClr val="bg1"/>
                </a:solidFill>
                <a:effectLst>
                  <a:outerShdw blurRad="254000" algn="ctr" rotWithShape="0">
                    <a:prstClr val="black">
                      <a:alpha val="35000"/>
                    </a:prstClr>
                  </a:outerShdw>
                </a:effectLst>
              </a:defRPr>
            </a:lvl2pPr>
            <a:lvl3pPr>
              <a:buClr>
                <a:schemeClr val="bg1"/>
              </a:buClr>
              <a:defRPr>
                <a:solidFill>
                  <a:schemeClr val="bg1"/>
                </a:solidFill>
                <a:effectLst>
                  <a:outerShdw blurRad="254000" algn="ctr" rotWithShape="0">
                    <a:prstClr val="black">
                      <a:alpha val="35000"/>
                    </a:prstClr>
                  </a:outerShdw>
                </a:effectLst>
              </a:defRPr>
            </a:lvl3pPr>
            <a:lvl4pPr>
              <a:buClr>
                <a:schemeClr val="bg1"/>
              </a:buClr>
              <a:defRPr>
                <a:solidFill>
                  <a:schemeClr val="bg1"/>
                </a:solidFill>
                <a:effectLst>
                  <a:outerShdw blurRad="254000" algn="ctr" rotWithShape="0">
                    <a:prstClr val="black">
                      <a:alpha val="35000"/>
                    </a:prstClr>
                  </a:outerShdw>
                </a:effectLst>
              </a:defRPr>
            </a:lvl4pPr>
            <a:lvl5pPr>
              <a:buClr>
                <a:schemeClr val="bg1"/>
              </a:buClr>
              <a:defRPr>
                <a:solidFill>
                  <a:schemeClr val="bg1"/>
                </a:solidFill>
                <a:effectLst>
                  <a:outerShdw blurRad="254000" algn="ctr" rotWithShape="0">
                    <a:prstClr val="black">
                      <a:alpha val="35000"/>
                    </a:prstClr>
                  </a:outerShdw>
                </a:effectLst>
              </a:defRPr>
            </a:lvl5pPr>
            <a:lvl6pPr>
              <a:buClr>
                <a:schemeClr val="bg1"/>
              </a:buClr>
              <a:defRPr>
                <a:solidFill>
                  <a:schemeClr val="bg1"/>
                </a:solidFill>
                <a:effectLst>
                  <a:outerShdw blurRad="254000" algn="ctr" rotWithShape="0">
                    <a:prstClr val="black">
                      <a:alpha val="35000"/>
                    </a:prstClr>
                  </a:outerShdw>
                </a:effectLst>
              </a:defRPr>
            </a:lvl6pPr>
            <a:lvl7pPr>
              <a:buClr>
                <a:schemeClr val="bg1"/>
              </a:buClr>
              <a:defRPr>
                <a:solidFill>
                  <a:schemeClr val="bg1"/>
                </a:solidFill>
                <a:effectLst>
                  <a:outerShdw blurRad="254000" algn="ctr" rotWithShape="0">
                    <a:prstClr val="black">
                      <a:alpha val="35000"/>
                    </a:prstClr>
                  </a:outerShdw>
                </a:effectLst>
              </a:defRPr>
            </a:lvl7pPr>
            <a:lvl8pPr>
              <a:buClr>
                <a:schemeClr val="bg1"/>
              </a:buClr>
              <a:defRPr>
                <a:solidFill>
                  <a:schemeClr val="bg1"/>
                </a:solidFill>
                <a:effectLst>
                  <a:outerShdw blurRad="254000" algn="ctr" rotWithShape="0">
                    <a:prstClr val="black">
                      <a:alpha val="35000"/>
                    </a:prstClr>
                  </a:outerShdw>
                </a:effectLst>
              </a:defRPr>
            </a:lvl8pPr>
            <a:lvl9pPr>
              <a:buClr>
                <a:schemeClr val="bg1"/>
              </a:buClr>
              <a:defRPr>
                <a:solidFill>
                  <a:schemeClr val="bg1"/>
                </a:solidFill>
                <a:effectLst>
                  <a:outerShdw blurRad="254000" algn="ctr" rotWithShape="0">
                    <a:prstClr val="black">
                      <a:alpha val="35000"/>
                    </a:prstClr>
                  </a:outerShdw>
                </a:effectLst>
              </a:defRPr>
            </a:lvl9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fld id="{7D121CAF-D317-4DCC-A77F-86D12F3B7C99}" type="datetime1">
              <a:rPr lang="en-US" smtClean="0"/>
              <a:pPr/>
              <a:t>5/29/19</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90E5A77-D385-4CDE-8FE8-D3E3CBE93E71}" type="slidenum">
              <a:rPr lang="en-US" smtClean="0"/>
              <a:pPr/>
              <a:t>‹#›</a:t>
            </a:fld>
            <a:endParaRPr lang="en-US"/>
          </a:p>
        </p:txBody>
      </p:sp>
      <p:sp>
        <p:nvSpPr>
          <p:cNvPr id="12" name="Text Placeholder 21"/>
          <p:cNvSpPr>
            <a:spLocks noGrp="1"/>
          </p:cNvSpPr>
          <p:nvPr>
            <p:ph type="body" sz="quarter" idx="15" hasCustomPrompt="1"/>
          </p:nvPr>
        </p:nvSpPr>
        <p:spPr>
          <a:xfrm>
            <a:off x="10418400" y="6307200"/>
            <a:ext cx="1216800" cy="288000"/>
          </a:xfrm>
          <a:blipFill>
            <a:blip r:embed="rId3" cstate="screen">
              <a:extLst>
                <a:ext uri="{28A0092B-C50C-407E-A947-70E740481C1C}">
                  <a14:useLocalDpi xmlns:a14="http://schemas.microsoft.com/office/drawing/2010/main"/>
                </a:ext>
              </a:extLst>
            </a:blip>
            <a:stretch>
              <a:fillRect/>
            </a:stretch>
          </a:blipFill>
          <a:effectLst>
            <a:outerShdw blurRad="254000" algn="ctr" rotWithShape="0">
              <a:prstClr val="black">
                <a:alpha val="35000"/>
              </a:prstClr>
            </a:outerShdw>
          </a:effectLst>
        </p:spPr>
        <p:txBody>
          <a:bodyPr>
            <a:normAutofit/>
          </a:bodyPr>
          <a:lstStyle>
            <a:lvl1pPr marL="0" indent="0">
              <a:buFontTx/>
              <a:buNone/>
              <a:defRPr sz="200">
                <a:noFill/>
              </a:defRPr>
            </a:lvl1pPr>
          </a:lstStyle>
          <a:p>
            <a:pPr lvl="0"/>
            <a:r>
              <a:rPr lang="fi-FI" dirty="0"/>
              <a:t> </a:t>
            </a:r>
          </a:p>
        </p:txBody>
      </p:sp>
    </p:spTree>
    <p:extLst>
      <p:ext uri="{BB962C8B-B14F-4D97-AF65-F5344CB8AC3E}">
        <p14:creationId xmlns:p14="http://schemas.microsoft.com/office/powerpoint/2010/main" val="5311281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C2FA50E-523E-4539-B8AF-18F3E31629C5}" type="datetime1">
              <a:rPr lang="en-US" smtClean="0"/>
              <a:t>5/29/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90E5A77-D385-4CDE-8FE8-D3E3CBE93E71}" type="slidenum">
              <a:rPr lang="en-US" smtClean="0"/>
              <a:t>‹#›</a:t>
            </a:fld>
            <a:endParaRPr lang="en-US"/>
          </a:p>
        </p:txBody>
      </p:sp>
      <p:sp>
        <p:nvSpPr>
          <p:cNvPr id="7" name="Title 6"/>
          <p:cNvSpPr>
            <a:spLocks noGrp="1"/>
          </p:cNvSpPr>
          <p:nvPr>
            <p:ph type="title"/>
          </p:nvPr>
        </p:nvSpPr>
        <p:spPr/>
        <p:txBody>
          <a:bodyPr/>
          <a:lstStyle/>
          <a:p>
            <a:r>
              <a:rPr lang="nb-NO"/>
              <a:t>Klikk for å redigere tittelstil</a:t>
            </a:r>
            <a:endParaRPr lang="en-GB"/>
          </a:p>
        </p:txBody>
      </p:sp>
    </p:spTree>
    <p:extLst>
      <p:ext uri="{BB962C8B-B14F-4D97-AF65-F5344CB8AC3E}">
        <p14:creationId xmlns:p14="http://schemas.microsoft.com/office/powerpoint/2010/main" val="33099226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empty ">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DDD1131-959F-4EEC-9BF5-5DAA7A818719}" type="datetime1">
              <a:rPr lang="en-US" smtClean="0"/>
              <a:t>5/29/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90E5A77-D385-4CDE-8FE8-D3E3CBE93E71}" type="slidenum">
              <a:rPr lang="en-US" smtClean="0"/>
              <a:t>‹#›</a:t>
            </a:fld>
            <a:endParaRPr lang="en-US"/>
          </a:p>
        </p:txBody>
      </p:sp>
    </p:spTree>
    <p:extLst>
      <p:ext uri="{BB962C8B-B14F-4D97-AF65-F5344CB8AC3E}">
        <p14:creationId xmlns:p14="http://schemas.microsoft.com/office/powerpoint/2010/main" val="10041791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logan ">
    <p:spTree>
      <p:nvGrpSpPr>
        <p:cNvPr id="1" name=""/>
        <p:cNvGrpSpPr/>
        <p:nvPr/>
      </p:nvGrpSpPr>
      <p:grpSpPr>
        <a:xfrm>
          <a:off x="0" y="0"/>
          <a:ext cx="0" cy="0"/>
          <a:chOff x="0" y="0"/>
          <a:chExt cx="0" cy="0"/>
        </a:xfrm>
      </p:grpSpPr>
      <p:sp>
        <p:nvSpPr>
          <p:cNvPr id="14" name="Date Placeholder 13"/>
          <p:cNvSpPr>
            <a:spLocks noGrp="1"/>
          </p:cNvSpPr>
          <p:nvPr>
            <p:ph type="dt" sz="half" idx="10"/>
          </p:nvPr>
        </p:nvSpPr>
        <p:spPr>
          <a:noFill/>
        </p:spPr>
        <p:txBody>
          <a:bodyPr/>
          <a:lstStyle>
            <a:lvl1pPr>
              <a:defRPr>
                <a:noFill/>
              </a:defRPr>
            </a:lvl1pPr>
          </a:lstStyle>
          <a:p>
            <a:fld id="{BECFA8CB-ED53-437C-AA8D-E7B2334C8DAD}" type="datetime1">
              <a:rPr lang="en-US" smtClean="0"/>
              <a:t>5/29/19</a:t>
            </a:fld>
            <a:endParaRPr lang="en-US"/>
          </a:p>
        </p:txBody>
      </p:sp>
      <p:sp>
        <p:nvSpPr>
          <p:cNvPr id="15" name="Footer Placeholder 14"/>
          <p:cNvSpPr>
            <a:spLocks noGrp="1"/>
          </p:cNvSpPr>
          <p:nvPr>
            <p:ph type="ftr" sz="quarter" idx="11"/>
          </p:nvPr>
        </p:nvSpPr>
        <p:spPr>
          <a:noFill/>
        </p:spPr>
        <p:txBody>
          <a:bodyPr/>
          <a:lstStyle>
            <a:lvl1pPr>
              <a:defRPr>
                <a:noFill/>
              </a:defRPr>
            </a:lvl1pPr>
          </a:lstStyle>
          <a:p>
            <a:endParaRPr lang="en-US"/>
          </a:p>
        </p:txBody>
      </p:sp>
      <p:sp>
        <p:nvSpPr>
          <p:cNvPr id="16" name="Slide Number Placeholder 15"/>
          <p:cNvSpPr>
            <a:spLocks noGrp="1"/>
          </p:cNvSpPr>
          <p:nvPr>
            <p:ph type="sldNum" sz="quarter" idx="12"/>
          </p:nvPr>
        </p:nvSpPr>
        <p:spPr>
          <a:noFill/>
        </p:spPr>
        <p:txBody>
          <a:bodyPr/>
          <a:lstStyle>
            <a:lvl1pPr>
              <a:defRPr>
                <a:noFill/>
              </a:defRPr>
            </a:lvl1pPr>
          </a:lstStyle>
          <a:p>
            <a:fld id="{F90E5A77-D385-4CDE-8FE8-D3E3CBE93E71}" type="slidenum">
              <a:rPr lang="en-US" smtClean="0"/>
              <a:pPr/>
              <a:t>‹#›</a:t>
            </a:fld>
            <a:endParaRPr lang="en-US"/>
          </a:p>
        </p:txBody>
      </p:sp>
      <p:sp>
        <p:nvSpPr>
          <p:cNvPr id="9" name="Title 1"/>
          <p:cNvSpPr>
            <a:spLocks noGrp="1"/>
          </p:cNvSpPr>
          <p:nvPr>
            <p:ph type="title"/>
          </p:nvPr>
        </p:nvSpPr>
        <p:spPr>
          <a:xfrm>
            <a:off x="550864" y="2564908"/>
            <a:ext cx="11090272" cy="1656457"/>
          </a:xfrm>
        </p:spPr>
        <p:txBody>
          <a:bodyPr anchor="ctr" anchorCtr="0"/>
          <a:lstStyle>
            <a:lvl1pPr algn="ctr">
              <a:defRPr sz="5000">
                <a:solidFill>
                  <a:schemeClr val="accent2"/>
                </a:solidFill>
              </a:defRPr>
            </a:lvl1pPr>
          </a:lstStyle>
          <a:p>
            <a:r>
              <a:rPr lang="nb-NO"/>
              <a:t>Klikk for å redigere tittelstil</a:t>
            </a:r>
            <a:endParaRPr lang="en-US" dirty="0"/>
          </a:p>
        </p:txBody>
      </p:sp>
    </p:spTree>
    <p:extLst>
      <p:ext uri="{BB962C8B-B14F-4D97-AF65-F5344CB8AC3E}">
        <p14:creationId xmlns:p14="http://schemas.microsoft.com/office/powerpoint/2010/main" val="36778729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only"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a:t>27.2.2017</a:t>
            </a:r>
          </a:p>
        </p:txBody>
      </p:sp>
      <p:sp>
        <p:nvSpPr>
          <p:cNvPr id="4" name="Footer Placeholder 3"/>
          <p:cNvSpPr>
            <a:spLocks noGrp="1"/>
          </p:cNvSpPr>
          <p:nvPr>
            <p:ph type="ftr" sz="quarter" idx="11"/>
          </p:nvPr>
        </p:nvSpPr>
        <p:spPr/>
        <p:txBody>
          <a:bodyPr/>
          <a:lstStyle/>
          <a:p>
            <a:r>
              <a:rPr lang="en-US"/>
              <a:t> </a:t>
            </a:r>
          </a:p>
        </p:txBody>
      </p:sp>
      <p:sp>
        <p:nvSpPr>
          <p:cNvPr id="5" name="Slide Number Placeholder 4"/>
          <p:cNvSpPr>
            <a:spLocks noGrp="1"/>
          </p:cNvSpPr>
          <p:nvPr>
            <p:ph type="sldNum" sz="quarter" idx="12"/>
          </p:nvPr>
        </p:nvSpPr>
        <p:spPr/>
        <p:txBody>
          <a:bodyPr/>
          <a:lstStyle/>
          <a:p>
            <a:fld id="{F90E5A77-D385-4CDE-8FE8-D3E3CBE93E71}" type="slidenum">
              <a:rPr lang="en-US" smtClean="0"/>
              <a:t>‹#›</a:t>
            </a:fld>
            <a:endParaRPr lang="en-US"/>
          </a:p>
        </p:txBody>
      </p:sp>
      <p:sp>
        <p:nvSpPr>
          <p:cNvPr id="7" name="Title 6"/>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1678037"/>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eaLnBrk="1">
              <a:buClrTx/>
              <a:buFontTx/>
              <a:buNone/>
            </a:pPr>
            <a:endParaRPr lang="en-US" sz="1099" b="1" dirty="0">
              <a:solidFill>
                <a:srgbClr val="990000"/>
              </a:solidFill>
            </a:endParaRPr>
          </a:p>
        </p:txBody>
      </p:sp>
      <p:grpSp>
        <p:nvGrpSpPr>
          <p:cNvPr id="31"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 name="cdtRectangle 115 Id57350"/>
          <p:cNvSpPr>
            <a:spLocks noGrp="1" noChangeArrowheads="1"/>
          </p:cNvSpPr>
          <p:nvPr>
            <p:ph type="ctrTitle"/>
            <p:custDataLst>
              <p:tags r:id="rId2"/>
            </p:custDataLst>
          </p:nvPr>
        </p:nvSpPr>
        <p:spPr bwMode="ltGray">
          <a:xfrm>
            <a:off x="626736" y="4569350"/>
            <a:ext cx="6476627" cy="166256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de-DE"/>
              <a:t>Mastertitelformat bearbeiten</a:t>
            </a:r>
            <a:endParaRPr lang="en-US" dirty="0"/>
          </a:p>
        </p:txBody>
      </p:sp>
      <p:grpSp>
        <p:nvGrpSpPr>
          <p:cNvPr id="28" name="Group 33"/>
          <p:cNvGrpSpPr>
            <a:grpSpLocks noChangeAspect="1"/>
          </p:cNvGrpSpPr>
          <p:nvPr userDrawn="1"/>
        </p:nvGrpSpPr>
        <p:grpSpPr bwMode="auto">
          <a:xfrm>
            <a:off x="9550189" y="323850"/>
            <a:ext cx="2157876"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p>
          </p:txBody>
        </p:sp>
      </p:grpSp>
    </p:spTree>
    <p:extLst>
      <p:ext uri="{BB962C8B-B14F-4D97-AF65-F5344CB8AC3E}">
        <p14:creationId xmlns:p14="http://schemas.microsoft.com/office/powerpoint/2010/main" val="160029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67FEF9-BBED-40DF-BAC9-97478DD2207C}"/>
              </a:ext>
            </a:extLst>
          </p:cNvPr>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16498325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Free Content (Stage)">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7175" name="think-cell Slide" r:id="rId5" imgW="360" imgH="360" progId="TCLayout.ActiveDocument.1">
                  <p:embed/>
                </p:oleObj>
              </mc:Choice>
              <mc:Fallback>
                <p:oleObj name="think-cell Slide" r:id="rId5" imgW="360" imgH="360" progId="TCLayout.ActiveDocument.1">
                  <p:embed/>
                  <p:pic>
                    <p:nvPicPr>
                      <p:cNvPr id="16" name="Objek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noFill/>
          <a:ln w="9525">
            <a:noFill/>
            <a:miter lim="800000"/>
            <a:headEnd/>
            <a:tailEnd/>
          </a:ln>
        </p:spPr>
        <p:txBody>
          <a:bodyPr vert="horz" wrap="square" lIns="626400" tIns="360000" rIns="540000" bIns="234000" numCol="1" anchor="t" anchorCtr="0" compatLnSpc="1">
            <a:prstTxWarp prst="textNoShape">
              <a:avLst/>
            </a:prstTxWarp>
          </a:bodyPr>
          <a:lstStyle>
            <a:lvl1pPr>
              <a:defRPr lang="en-US" sz="3198" dirty="0">
                <a:latin typeface="Arial" pitchFamily="34" charset="0"/>
              </a:defRPr>
            </a:lvl1pPr>
          </a:lstStyle>
          <a:p>
            <a:pPr lvl="0"/>
            <a:r>
              <a:rPr lang="de-DE" dirty="0"/>
              <a:t>Titelmasterformat durch Klicken bearbeiten</a:t>
            </a:r>
            <a:endParaRPr lang="en-US" dirty="0"/>
          </a:p>
        </p:txBody>
      </p:sp>
      <p:sp>
        <p:nvSpPr>
          <p:cNvPr id="3" name="cdtText Box 133 Id16"/>
          <p:cNvSpPr txBox="1">
            <a:spLocks noChangeArrowheads="1"/>
          </p:cNvSpPr>
          <p:nvPr userDrawn="1">
            <p:custDataLst>
              <p:tags r:id="rId3"/>
            </p:custDataLst>
          </p:nvPr>
        </p:nvSpPr>
        <p:spPr bwMode="auto">
          <a:xfrm>
            <a:off x="0" y="6200775"/>
            <a:ext cx="12192000" cy="396875"/>
          </a:xfrm>
          <a:prstGeom prst="rect">
            <a:avLst/>
          </a:prstGeom>
          <a:noFill/>
          <a:ln w="9525">
            <a:noFill/>
            <a:miter lim="800000"/>
            <a:headEnd/>
            <a:tailEnd/>
          </a:ln>
          <a:effectLst/>
        </p:spPr>
        <p:txBody>
          <a:bodyPr lIns="626074" tIns="143925" rIns="3209528" bIns="0" anchor="ctr"/>
          <a:lstStyle/>
          <a:p>
            <a:r>
              <a:rPr lang="en-US" sz="999" b="1">
                <a:solidFill>
                  <a:schemeClr val="bg1"/>
                </a:solidFill>
              </a:rPr>
              <a:t>Unrestricted </a:t>
            </a:r>
            <a:r>
              <a:rPr lang="en-US" sz="999" b="1" dirty="0">
                <a:solidFill>
                  <a:schemeClr val="bg1"/>
                </a:solidFill>
              </a:rPr>
              <a:t>© Siemens AG 2017</a:t>
            </a:r>
          </a:p>
        </p:txBody>
      </p:sp>
      <p:grpSp>
        <p:nvGrpSpPr>
          <p:cNvPr id="4" name="Gruppieren 3"/>
          <p:cNvGrpSpPr/>
          <p:nvPr userDrawn="1"/>
        </p:nvGrpSpPr>
        <p:grpSpPr>
          <a:xfrm>
            <a:off x="-215887" y="-216000"/>
            <a:ext cx="11925588" cy="6417308"/>
            <a:chOff x="-216000" y="-216000"/>
            <a:chExt cx="11931799" cy="6417308"/>
          </a:xfrm>
        </p:grpSpPr>
        <p:cxnSp>
          <p:nvCxnSpPr>
            <p:cNvPr id="5" name="Gerade Verbindung 4"/>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 Verbindung 6"/>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981671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lt1"/>
        </a:solidFill>
        <a:effectLst/>
      </p:bgPr>
    </p:bg>
    <p:spTree>
      <p:nvGrpSpPr>
        <p:cNvPr id="1" name=""/>
        <p:cNvGrpSpPr/>
        <p:nvPr/>
      </p:nvGrpSpPr>
      <p:grpSpPr>
        <a:xfrm>
          <a:off x="0" y="0"/>
          <a:ext cx="0" cy="0"/>
          <a:chOff x="0" y="0"/>
          <a:chExt cx="0" cy="0"/>
        </a:xfrm>
      </p:grpSpPr>
      <p:sp>
        <p:nvSpPr>
          <p:cNvPr id="13" name="Plassholder for bilde 12">
            <a:extLst>
              <a:ext uri="{FF2B5EF4-FFF2-40B4-BE49-F238E27FC236}">
                <a16:creationId xmlns:a16="http://schemas.microsoft.com/office/drawing/2014/main" id="{6DB984A3-CCAF-430F-B635-4ABD2578E002}"/>
              </a:ext>
            </a:extLst>
          </p:cNvPr>
          <p:cNvSpPr>
            <a:spLocks noGrp="1"/>
          </p:cNvSpPr>
          <p:nvPr>
            <p:ph type="pic" sz="quarter" idx="13"/>
          </p:nvPr>
        </p:nvSpPr>
        <p:spPr>
          <a:xfrm>
            <a:off x="168794" y="126602"/>
            <a:ext cx="11854403" cy="6380586"/>
          </a:xfrm>
        </p:spPr>
        <p:txBody>
          <a:bodyPr/>
          <a:lstStyle/>
          <a:p>
            <a:r>
              <a:rPr lang="nb-NO"/>
              <a:t>Klikk ikonet for å legge til et bilde</a:t>
            </a:r>
            <a:endParaRPr lang="nb-NO" dirty="0"/>
          </a:p>
        </p:txBody>
      </p:sp>
      <p:sp>
        <p:nvSpPr>
          <p:cNvPr id="4" name="Date Placeholder 3"/>
          <p:cNvSpPr>
            <a:spLocks noGrp="1"/>
          </p:cNvSpPr>
          <p:nvPr>
            <p:ph type="dt" sz="half" idx="10"/>
          </p:nvPr>
        </p:nvSpPr>
        <p:spPr/>
        <p:txBody>
          <a:bodyPr/>
          <a:lstStyle>
            <a:lvl1pPr>
              <a:defRPr>
                <a:solidFill>
                  <a:schemeClr val="dk1"/>
                </a:solidFill>
              </a:defRPr>
            </a:lvl1pPr>
          </a:lstStyle>
          <a:p>
            <a:r>
              <a:rPr lang="nb-NO"/>
              <a:t>Dato</a:t>
            </a:r>
          </a:p>
        </p:txBody>
      </p:sp>
      <p:sp>
        <p:nvSpPr>
          <p:cNvPr id="6" name="Slide Number Placeholder 5"/>
          <p:cNvSpPr>
            <a:spLocks noGrp="1"/>
          </p:cNvSpPr>
          <p:nvPr>
            <p:ph type="sldNum" sz="quarter" idx="12"/>
          </p:nvPr>
        </p:nvSpPr>
        <p:spPr/>
        <p:txBody>
          <a:bodyPr/>
          <a:lstStyle>
            <a:lvl1pPr>
              <a:defRPr>
                <a:solidFill>
                  <a:schemeClr val="dk1"/>
                </a:solidFill>
              </a:defRPr>
            </a:lvl1pPr>
          </a:lstStyle>
          <a:p>
            <a:fld id="{D5DAC896-3290-4F14-BAAE-6BA5F8CCFA8A}" type="slidenum">
              <a:rPr lang="nb-NO" smtClean="0"/>
              <a:pPr/>
              <a:t>‹#›</a:t>
            </a:fld>
            <a:endParaRPr lang="nb-NO" dirty="0"/>
          </a:p>
        </p:txBody>
      </p:sp>
      <p:cxnSp>
        <p:nvCxnSpPr>
          <p:cNvPr id="11" name="Rett linje 10">
            <a:extLst>
              <a:ext uri="{FF2B5EF4-FFF2-40B4-BE49-F238E27FC236}">
                <a16:creationId xmlns:a16="http://schemas.microsoft.com/office/drawing/2014/main" id="{06E9339D-9BBE-4F1C-A7A6-A6BAA9FE87DE}"/>
              </a:ext>
            </a:extLst>
          </p:cNvPr>
          <p:cNvCxnSpPr/>
          <p:nvPr userDrawn="1"/>
        </p:nvCxnSpPr>
        <p:spPr>
          <a:xfrm>
            <a:off x="410176" y="6644201"/>
            <a:ext cx="0" cy="1082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Plassholder for tekst 16">
            <a:extLst>
              <a:ext uri="{FF2B5EF4-FFF2-40B4-BE49-F238E27FC236}">
                <a16:creationId xmlns:a16="http://schemas.microsoft.com/office/drawing/2014/main" id="{2A0EBD23-7235-4D4D-AF96-FCFFD9067A43}"/>
              </a:ext>
            </a:extLst>
          </p:cNvPr>
          <p:cNvSpPr>
            <a:spLocks noGrp="1"/>
          </p:cNvSpPr>
          <p:nvPr>
            <p:ph type="body" sz="quarter" idx="14"/>
          </p:nvPr>
        </p:nvSpPr>
        <p:spPr>
          <a:xfrm>
            <a:off x="420635" y="-10047"/>
            <a:ext cx="2323913" cy="341817"/>
          </a:xfrm>
          <a:solidFill>
            <a:schemeClr val="tx2"/>
          </a:solidFill>
        </p:spPr>
        <p:txBody>
          <a:bodyPr anchor="ctr">
            <a:noAutofit/>
          </a:bodyPr>
          <a:lstStyle>
            <a:lvl1pPr marL="0" indent="0" algn="ctr">
              <a:buNone/>
              <a:defRPr sz="1266" b="1" cap="all" baseline="0">
                <a:solidFill>
                  <a:schemeClr val="bg1"/>
                </a:solidFill>
              </a:defRPr>
            </a:lvl1pPr>
            <a:lvl2pPr algn="ctr">
              <a:defRPr sz="879">
                <a:solidFill>
                  <a:schemeClr val="bg1"/>
                </a:solidFill>
              </a:defRPr>
            </a:lvl2pPr>
            <a:lvl3pPr algn="ctr">
              <a:defRPr sz="879">
                <a:solidFill>
                  <a:schemeClr val="bg1"/>
                </a:solidFill>
              </a:defRPr>
            </a:lvl3pPr>
            <a:lvl4pPr algn="ctr">
              <a:defRPr sz="879">
                <a:solidFill>
                  <a:schemeClr val="bg1"/>
                </a:solidFill>
              </a:defRPr>
            </a:lvl4pPr>
            <a:lvl5pPr algn="ctr">
              <a:defRPr sz="879">
                <a:solidFill>
                  <a:schemeClr val="bg1"/>
                </a:solidFill>
              </a:defRPr>
            </a:lvl5pPr>
          </a:lstStyle>
          <a:p>
            <a:pPr lvl="0"/>
            <a:r>
              <a:rPr lang="nb-NO"/>
              <a:t>Rediger tekststiler i malen</a:t>
            </a:r>
          </a:p>
        </p:txBody>
      </p:sp>
      <p:sp>
        <p:nvSpPr>
          <p:cNvPr id="14" name="Plassholder for tekst 15">
            <a:extLst>
              <a:ext uri="{FF2B5EF4-FFF2-40B4-BE49-F238E27FC236}">
                <a16:creationId xmlns:a16="http://schemas.microsoft.com/office/drawing/2014/main" id="{66CC5EB4-DB25-4E7A-9624-66A8E6979EC4}"/>
              </a:ext>
            </a:extLst>
          </p:cNvPr>
          <p:cNvSpPr>
            <a:spLocks noGrp="1"/>
          </p:cNvSpPr>
          <p:nvPr>
            <p:ph type="body" sz="quarter" idx="17" hasCustomPrompt="1"/>
          </p:nvPr>
        </p:nvSpPr>
        <p:spPr>
          <a:xfrm>
            <a:off x="7451870" y="1645786"/>
            <a:ext cx="3924036" cy="3924076"/>
          </a:xfrm>
          <a:prstGeom prst="ellipse">
            <a:avLst/>
          </a:prstGeom>
          <a:solidFill>
            <a:srgbClr val="005F64">
              <a:alpha val="69804"/>
            </a:srgbClr>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5" name="Plassholder for tekst 15">
            <a:extLst>
              <a:ext uri="{FF2B5EF4-FFF2-40B4-BE49-F238E27FC236}">
                <a16:creationId xmlns:a16="http://schemas.microsoft.com/office/drawing/2014/main" id="{2DFC32B3-7CD5-459F-A76A-D7599D5E5B08}"/>
              </a:ext>
            </a:extLst>
          </p:cNvPr>
          <p:cNvSpPr>
            <a:spLocks noGrp="1"/>
          </p:cNvSpPr>
          <p:nvPr>
            <p:ph type="body" sz="quarter" idx="18" hasCustomPrompt="1"/>
          </p:nvPr>
        </p:nvSpPr>
        <p:spPr>
          <a:xfrm>
            <a:off x="7451870" y="1645786"/>
            <a:ext cx="3924036" cy="3924076"/>
          </a:xfrm>
          <a:prstGeom prst="ellipse">
            <a:avLst/>
          </a:prstGeom>
          <a:blipFill dpi="0" rotWithShape="1">
            <a:blip r:embed="rId2"/>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pic>
        <p:nvPicPr>
          <p:cNvPr id="18" name="Bilde 17">
            <a:extLst>
              <a:ext uri="{FF2B5EF4-FFF2-40B4-BE49-F238E27FC236}">
                <a16:creationId xmlns:a16="http://schemas.microsoft.com/office/drawing/2014/main" id="{9CF8D0F3-4CA0-48A8-8C03-031CB44E6318}"/>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l="47291"/>
          <a:stretch/>
        </p:blipFill>
        <p:spPr>
          <a:xfrm>
            <a:off x="9147182" y="6538622"/>
            <a:ext cx="3044818" cy="319378"/>
          </a:xfrm>
          <a:prstGeom prst="rect">
            <a:avLst/>
          </a:prstGeom>
        </p:spPr>
      </p:pic>
      <p:pic>
        <p:nvPicPr>
          <p:cNvPr id="19" name="Bilde 18">
            <a:extLst>
              <a:ext uri="{FF2B5EF4-FFF2-40B4-BE49-F238E27FC236}">
                <a16:creationId xmlns:a16="http://schemas.microsoft.com/office/drawing/2014/main" id="{2BD8ABBD-F4B5-4793-B184-24CFC76857CE}"/>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4983540" y="6617793"/>
            <a:ext cx="2224907" cy="113604"/>
          </a:xfrm>
          <a:prstGeom prst="rect">
            <a:avLst/>
          </a:prstGeom>
        </p:spPr>
      </p:pic>
    </p:spTree>
    <p:extLst>
      <p:ext uri="{BB962C8B-B14F-4D97-AF65-F5344CB8AC3E}">
        <p14:creationId xmlns:p14="http://schemas.microsoft.com/office/powerpoint/2010/main" val="23896021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3.xml"/><Relationship Id="rId18" Type="http://schemas.openxmlformats.org/officeDocument/2006/relationships/tags" Target="../tags/tag8.xml"/><Relationship Id="rId26" Type="http://schemas.openxmlformats.org/officeDocument/2006/relationships/tags" Target="../tags/tag16.xml"/><Relationship Id="rId39" Type="http://schemas.openxmlformats.org/officeDocument/2006/relationships/oleObject" Target="../embeddings/oleObject1.bin"/><Relationship Id="rId21" Type="http://schemas.openxmlformats.org/officeDocument/2006/relationships/tags" Target="../tags/tag11.xml"/><Relationship Id="rId34" Type="http://schemas.openxmlformats.org/officeDocument/2006/relationships/tags" Target="../tags/tag24.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5" Type="http://schemas.openxmlformats.org/officeDocument/2006/relationships/tags" Target="../tags/tag15.xml"/><Relationship Id="rId33" Type="http://schemas.openxmlformats.org/officeDocument/2006/relationships/tags" Target="../tags/tag23.xml"/><Relationship Id="rId38" Type="http://schemas.openxmlformats.org/officeDocument/2006/relationships/tags" Target="../tags/tag28.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29" Type="http://schemas.openxmlformats.org/officeDocument/2006/relationships/tags" Target="../tags/tag1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24" Type="http://schemas.openxmlformats.org/officeDocument/2006/relationships/tags" Target="../tags/tag14.xml"/><Relationship Id="rId32" Type="http://schemas.openxmlformats.org/officeDocument/2006/relationships/tags" Target="../tags/tag22.xml"/><Relationship Id="rId37" Type="http://schemas.openxmlformats.org/officeDocument/2006/relationships/tags" Target="../tags/tag27.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tags" Target="../tags/tag13.xml"/><Relationship Id="rId28" Type="http://schemas.openxmlformats.org/officeDocument/2006/relationships/tags" Target="../tags/tag18.xml"/><Relationship Id="rId36" Type="http://schemas.openxmlformats.org/officeDocument/2006/relationships/tags" Target="../tags/tag26.xml"/><Relationship Id="rId10" Type="http://schemas.openxmlformats.org/officeDocument/2006/relationships/vmlDrawing" Target="../drawings/vmlDrawing1.vml"/><Relationship Id="rId19" Type="http://schemas.openxmlformats.org/officeDocument/2006/relationships/tags" Target="../tags/tag9.xml"/><Relationship Id="rId31" Type="http://schemas.openxmlformats.org/officeDocument/2006/relationships/tags" Target="../tags/tag21.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4.xml"/><Relationship Id="rId22" Type="http://schemas.openxmlformats.org/officeDocument/2006/relationships/tags" Target="../tags/tag12.xml"/><Relationship Id="rId27" Type="http://schemas.openxmlformats.org/officeDocument/2006/relationships/tags" Target="../tags/tag17.xml"/><Relationship Id="rId30" Type="http://schemas.openxmlformats.org/officeDocument/2006/relationships/tags" Target="../tags/tag20.xml"/><Relationship Id="rId35" Type="http://schemas.openxmlformats.org/officeDocument/2006/relationships/tags" Target="../tags/tag2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image" Target="../media/image5.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image" Target="../media/image4.jpg"/><Relationship Id="rId2" Type="http://schemas.openxmlformats.org/officeDocument/2006/relationships/slideLayout" Target="../slideLayouts/slideLayout10.xml"/><Relationship Id="rId16"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image" Target="../media/image6.png"/><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image" Target="../media/image5.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image" Target="../media/image4.jpg"/><Relationship Id="rId2" Type="http://schemas.openxmlformats.org/officeDocument/2006/relationships/slideLayout" Target="../slideLayouts/slideLayout25.xml"/><Relationship Id="rId16" Type="http://schemas.openxmlformats.org/officeDocument/2006/relationships/theme" Target="../theme/theme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image" Target="../media/image6.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theme" Target="../theme/theme4.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54" name="Objekt 53" hidden="1"/>
          <p:cNvGraphicFramePr>
            <a:graphicFrameLocks noChangeAspect="1"/>
          </p:cNvGraphicFramePr>
          <p:nvPr>
            <p:custDataLst>
              <p:tags r:id="rId11"/>
            </p:custDataLst>
          </p:nvPr>
        </p:nvGraphicFramePr>
        <p:xfrm>
          <a:off x="1587" y="1589"/>
          <a:ext cx="1586" cy="1587"/>
        </p:xfrm>
        <a:graphic>
          <a:graphicData uri="http://schemas.openxmlformats.org/presentationml/2006/ole">
            <mc:AlternateContent xmlns:mc="http://schemas.openxmlformats.org/markup-compatibility/2006">
              <mc:Choice xmlns:v="urn:schemas-microsoft-com:vml" Requires="v">
                <p:oleObj spid="_x0000_s2055" name="think-cell Slide" r:id="rId39" imgW="360" imgH="360" progId="TCLayout.ActiveDocument.1">
                  <p:embed/>
                </p:oleObj>
              </mc:Choice>
              <mc:Fallback>
                <p:oleObj name="think-cell Slide" r:id="rId39" imgW="360" imgH="360" progId="TCLayout.ActiveDocument.1">
                  <p:embed/>
                  <p:pic>
                    <p:nvPicPr>
                      <p:cNvPr id="54" name="Objekt 53"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7" y="1589"/>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cdtRectangle 115 Id3078"/>
          <p:cNvSpPr>
            <a:spLocks noGrp="1" noChangeArrowheads="1"/>
          </p:cNvSpPr>
          <p:nvPr>
            <p:ph type="title"/>
            <p:custDataLst>
              <p:tags r:id="rId12"/>
            </p:custDataLst>
          </p:nvPr>
        </p:nvSpPr>
        <p:spPr bwMode="auto">
          <a:xfrm>
            <a:off x="0" y="-1"/>
            <a:ext cx="12192000" cy="1440000"/>
          </a:xfrm>
          <a:prstGeom prst="rect">
            <a:avLst/>
          </a:prstGeom>
          <a:noFill/>
          <a:ln w="9525">
            <a:noFill/>
            <a:miter lim="800000"/>
            <a:headEnd/>
            <a:tailEnd/>
          </a:ln>
        </p:spPr>
        <p:txBody>
          <a:bodyPr vert="horz" wrap="square" lIns="626400" tIns="432000" rIns="2746800" bIns="234000" numCol="1" anchor="t" anchorCtr="0" compatLnSpc="1">
            <a:prstTxWarp prst="textNoShape">
              <a:avLst/>
            </a:prstTxWarp>
          </a:bodyPr>
          <a:lstStyle/>
          <a:p>
            <a:pPr lvl="0"/>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079" name="cdtRectangle 116 Id3079"/>
          <p:cNvSpPr>
            <a:spLocks noGrp="1" noChangeArrowheads="1"/>
          </p:cNvSpPr>
          <p:nvPr>
            <p:ph type="body" idx="1"/>
            <p:custDataLst>
              <p:tags r:id="rId13"/>
            </p:custDataLst>
          </p:nvPr>
        </p:nvSpPr>
        <p:spPr bwMode="auto">
          <a:xfrm>
            <a:off x="626736" y="1412876"/>
            <a:ext cx="11082913" cy="21544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dirty="0" err="1"/>
              <a:t>Textmasterformat</a:t>
            </a:r>
            <a:r>
              <a:rPr lang="en-US" dirty="0"/>
              <a:t> </a:t>
            </a:r>
            <a:r>
              <a:rPr lang="en-US" dirty="0" err="1"/>
              <a:t>bearbeiten</a:t>
            </a:r>
            <a:endParaRPr lang="en-US" dirty="0"/>
          </a:p>
        </p:txBody>
      </p:sp>
      <p:cxnSp>
        <p:nvCxnSpPr>
          <p:cNvPr id="3072" name="cdtMasterTags_CL1 Id3072"/>
          <p:cNvCxnSpPr/>
          <p:nvPr>
            <p:custDataLst>
              <p:tags r:id="rId1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1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1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1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1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1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2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2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5" name="cdtTextBox 11 Id18"/>
          <p:cNvSpPr txBox="1"/>
          <p:nvPr>
            <p:custDataLst>
              <p:tags r:id="rId37"/>
            </p:custDataLst>
          </p:nvPr>
        </p:nvSpPr>
        <p:spPr>
          <a:xfrm>
            <a:off x="1" y="6381327"/>
            <a:ext cx="1764366" cy="260350"/>
          </a:xfrm>
          <a:prstGeom prst="rect">
            <a:avLst/>
          </a:prstGeom>
          <a:noFill/>
        </p:spPr>
        <p:txBody>
          <a:bodyPr wrap="square" lIns="626074" tIns="0" rIns="0" bIns="115140" rtlCol="0" anchor="t" anchorCtr="0">
            <a:noAutofit/>
          </a:bodyPr>
          <a:lstStyle/>
          <a:p>
            <a:pPr>
              <a:lnSpc>
                <a:spcPct val="110000"/>
              </a:lnSpc>
              <a:spcBef>
                <a:spcPts val="0"/>
              </a:spcBef>
            </a:pPr>
            <a:r>
              <a:rPr lang="en-US" sz="999" dirty="0">
                <a:solidFill>
                  <a:srgbClr val="000000"/>
                </a:solidFill>
              </a:rPr>
              <a:t>Page </a:t>
            </a:r>
            <a:fld id="{91E7552C-A157-4A4F-8E99-698C0325FC94}" type="slidenum">
              <a:rPr lang="en-US" sz="999" smtClean="0">
                <a:solidFill>
                  <a:srgbClr val="000000"/>
                </a:solidFill>
              </a:rPr>
              <a:pPr>
                <a:lnSpc>
                  <a:spcPct val="110000"/>
                </a:lnSpc>
                <a:spcBef>
                  <a:spcPts val="0"/>
                </a:spcBef>
              </a:pPr>
              <a:t>‹#›</a:t>
            </a:fld>
            <a:endParaRPr lang="en-US" sz="999" dirty="0">
              <a:solidFill>
                <a:srgbClr val="000000"/>
              </a:solidFill>
            </a:endParaRPr>
          </a:p>
        </p:txBody>
      </p:sp>
      <p:grpSp>
        <p:nvGrpSpPr>
          <p:cNvPr id="2" name="Gruppieren 66"/>
          <p:cNvGrpSpPr/>
          <p:nvPr/>
        </p:nvGrpSpPr>
        <p:grpSpPr>
          <a:xfrm>
            <a:off x="-215888" y="-216000"/>
            <a:ext cx="12622226"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55" name="Rectangle 168"/>
          <p:cNvSpPr>
            <a:spLocks noChangeArrowheads="1"/>
          </p:cNvSpPr>
          <p:nvPr>
            <p:custDataLst>
              <p:tags r:id="rId38"/>
            </p:custDataLst>
          </p:nvPr>
        </p:nvSpPr>
        <p:spPr bwMode="auto">
          <a:xfrm>
            <a:off x="626242" y="6588125"/>
            <a:ext cx="5377236" cy="153988"/>
          </a:xfrm>
          <a:prstGeom prst="rect">
            <a:avLst/>
          </a:prstGeom>
          <a:noFill/>
          <a:ln w="9525">
            <a:noFill/>
            <a:miter lim="800000"/>
            <a:headEnd/>
            <a:tailEnd/>
          </a:ln>
          <a:effectLst/>
        </p:spPr>
        <p:txBody>
          <a:bodyPr lIns="0" tIns="0" rIns="0" bIns="0" anchor="b">
            <a:spAutoFit/>
          </a:bodyPr>
          <a:lstStyle>
            <a:lvl1pPr algn="ctr" eaLnBrk="0" hangingPunct="0">
              <a:lnSpc>
                <a:spcPct val="110000"/>
              </a:lnSpc>
              <a:defRPr sz="1200">
                <a:solidFill>
                  <a:schemeClr val="tx1"/>
                </a:solidFill>
                <a:latin typeface="Arial" charset="0"/>
                <a:ea typeface="MS PGothic" pitchFamily="34" charset="-128"/>
              </a:defRPr>
            </a:lvl1pPr>
            <a:lvl2pPr marL="742950" indent="-285750" algn="ctr" eaLnBrk="0" hangingPunct="0">
              <a:lnSpc>
                <a:spcPct val="110000"/>
              </a:lnSpc>
              <a:defRPr sz="1200">
                <a:solidFill>
                  <a:schemeClr val="tx1"/>
                </a:solidFill>
                <a:latin typeface="Arial" charset="0"/>
                <a:ea typeface="MS PGothic" pitchFamily="34" charset="-128"/>
              </a:defRPr>
            </a:lvl2pPr>
            <a:lvl3pPr marL="1143000" indent="-228600" algn="ctr" eaLnBrk="0" hangingPunct="0">
              <a:lnSpc>
                <a:spcPct val="110000"/>
              </a:lnSpc>
              <a:defRPr sz="1200">
                <a:solidFill>
                  <a:schemeClr val="tx1"/>
                </a:solidFill>
                <a:latin typeface="Arial" charset="0"/>
                <a:ea typeface="MS PGothic" pitchFamily="34" charset="-128"/>
              </a:defRPr>
            </a:lvl3pPr>
            <a:lvl4pPr marL="1600200" indent="-228600" algn="ctr" eaLnBrk="0" hangingPunct="0">
              <a:lnSpc>
                <a:spcPct val="110000"/>
              </a:lnSpc>
              <a:defRPr sz="1200">
                <a:solidFill>
                  <a:schemeClr val="tx1"/>
                </a:solidFill>
                <a:latin typeface="Arial" charset="0"/>
                <a:ea typeface="MS PGothic" pitchFamily="34" charset="-128"/>
              </a:defRPr>
            </a:lvl4pPr>
            <a:lvl5pPr marL="2057400" indent="-228600" algn="ctr" eaLnBrk="0" hangingPunct="0">
              <a:lnSpc>
                <a:spcPct val="110000"/>
              </a:lnSpc>
              <a:defRPr sz="1200">
                <a:solidFill>
                  <a:schemeClr val="tx1"/>
                </a:solidFill>
                <a:latin typeface="Arial" charset="0"/>
                <a:ea typeface="MS PGothic" pitchFamily="34" charset="-128"/>
              </a:defRPr>
            </a:lvl5pPr>
            <a:lvl6pPr marL="25146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6pPr>
            <a:lvl7pPr marL="29718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7pPr>
            <a:lvl8pPr marL="34290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8pPr>
            <a:lvl9pPr marL="38862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9pPr>
          </a:lstStyle>
          <a:p>
            <a:pPr algn="l" eaLnBrk="1" hangingPunct="1">
              <a:lnSpc>
                <a:spcPct val="100000"/>
              </a:lnSpc>
            </a:pPr>
            <a:r>
              <a:rPr lang="en-US" altLang="de-DE" sz="999" b="1">
                <a:solidFill>
                  <a:srgbClr val="879BAA"/>
                </a:solidFill>
              </a:rPr>
              <a:t>Restricted © Siemens AG 2018. All rights reserved</a:t>
            </a:r>
            <a:endParaRPr lang="en-US" altLang="de-DE" sz="999" b="1" dirty="0">
              <a:solidFill>
                <a:srgbClr val="879BAA"/>
              </a:solidFill>
            </a:endParaRPr>
          </a:p>
        </p:txBody>
      </p:sp>
      <p:grpSp>
        <p:nvGrpSpPr>
          <p:cNvPr id="53" name="Group 33">
            <a:extLst>
              <a:ext uri="{FF2B5EF4-FFF2-40B4-BE49-F238E27FC236}">
                <a16:creationId xmlns:a16="http://schemas.microsoft.com/office/drawing/2014/main" id="{00FB4B07-6BE1-4085-AD07-3640E5657070}"/>
              </a:ext>
            </a:extLst>
          </p:cNvPr>
          <p:cNvGrpSpPr>
            <a:grpSpLocks noChangeAspect="1"/>
          </p:cNvGrpSpPr>
          <p:nvPr userDrawn="1"/>
        </p:nvGrpSpPr>
        <p:grpSpPr bwMode="auto">
          <a:xfrm>
            <a:off x="9550189" y="323850"/>
            <a:ext cx="2157876" cy="914400"/>
            <a:chOff x="6019" y="204"/>
            <a:chExt cx="1360" cy="576"/>
          </a:xfrm>
        </p:grpSpPr>
        <p:sp>
          <p:nvSpPr>
            <p:cNvPr id="56" name="AutoShape 32">
              <a:extLst>
                <a:ext uri="{FF2B5EF4-FFF2-40B4-BE49-F238E27FC236}">
                  <a16:creationId xmlns:a16="http://schemas.microsoft.com/office/drawing/2014/main" id="{27E32411-4C31-4F82-9C2E-72FA7CA21E61}"/>
                </a:ext>
              </a:extLst>
            </p:cNvPr>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57" name="Rectangle 34">
              <a:extLst>
                <a:ext uri="{FF2B5EF4-FFF2-40B4-BE49-F238E27FC236}">
                  <a16:creationId xmlns:a16="http://schemas.microsoft.com/office/drawing/2014/main" id="{7A7BF9CF-0BC2-41AC-8D43-C8D3C68715F0}"/>
                </a:ext>
              </a:extLst>
            </p:cNvPr>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58" name="Freeform 35">
              <a:extLst>
                <a:ext uri="{FF2B5EF4-FFF2-40B4-BE49-F238E27FC236}">
                  <a16:creationId xmlns:a16="http://schemas.microsoft.com/office/drawing/2014/main" id="{C04B62A7-0A08-4009-A656-4D431E5A7109}"/>
                </a:ext>
              </a:extLst>
            </p:cNvPr>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59" name="Freeform 36">
              <a:extLst>
                <a:ext uri="{FF2B5EF4-FFF2-40B4-BE49-F238E27FC236}">
                  <a16:creationId xmlns:a16="http://schemas.microsoft.com/office/drawing/2014/main" id="{B27B67A4-EDA7-4691-9106-1A55E47EBCCD}"/>
                </a:ext>
              </a:extLst>
            </p:cNvPr>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60" name="Freeform 37">
              <a:extLst>
                <a:ext uri="{FF2B5EF4-FFF2-40B4-BE49-F238E27FC236}">
                  <a16:creationId xmlns:a16="http://schemas.microsoft.com/office/drawing/2014/main" id="{6B49ADDE-F77F-4C97-B133-B6AFE5FF1906}"/>
                </a:ext>
              </a:extLst>
            </p:cNvPr>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61" name="Freeform 38">
              <a:extLst>
                <a:ext uri="{FF2B5EF4-FFF2-40B4-BE49-F238E27FC236}">
                  <a16:creationId xmlns:a16="http://schemas.microsoft.com/office/drawing/2014/main" id="{F6B3DEB9-26D7-47EC-AB77-6CD19F73D5D5}"/>
                </a:ext>
              </a:extLst>
            </p:cNvPr>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62" name="Freeform 39">
              <a:extLst>
                <a:ext uri="{FF2B5EF4-FFF2-40B4-BE49-F238E27FC236}">
                  <a16:creationId xmlns:a16="http://schemas.microsoft.com/office/drawing/2014/main" id="{D4AC9085-029F-4271-AEEF-7277D3A2C91C}"/>
                </a:ext>
              </a:extLst>
            </p:cNvPr>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63" name="Freeform 40">
              <a:extLst>
                <a:ext uri="{FF2B5EF4-FFF2-40B4-BE49-F238E27FC236}">
                  <a16:creationId xmlns:a16="http://schemas.microsoft.com/office/drawing/2014/main" id="{545C2209-514B-4920-8A12-11C7EB349E02}"/>
                </a:ext>
              </a:extLst>
            </p:cNvPr>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64" name="Freeform 41">
              <a:extLst>
                <a:ext uri="{FF2B5EF4-FFF2-40B4-BE49-F238E27FC236}">
                  <a16:creationId xmlns:a16="http://schemas.microsoft.com/office/drawing/2014/main" id="{2AAACCE8-6FDE-442A-A659-4537BB8979BA}"/>
                </a:ext>
              </a:extLst>
            </p:cNvPr>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66" name="Freeform 42">
              <a:extLst>
                <a:ext uri="{FF2B5EF4-FFF2-40B4-BE49-F238E27FC236}">
                  <a16:creationId xmlns:a16="http://schemas.microsoft.com/office/drawing/2014/main" id="{842B421D-1CDE-49C0-94DC-4DE19133DA66}"/>
                </a:ext>
              </a:extLst>
            </p:cNvPr>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67" name="Freeform 43">
              <a:extLst>
                <a:ext uri="{FF2B5EF4-FFF2-40B4-BE49-F238E27FC236}">
                  <a16:creationId xmlns:a16="http://schemas.microsoft.com/office/drawing/2014/main" id="{281522EF-D725-4F6B-A769-27DB9F4AE68E}"/>
                </a:ext>
              </a:extLst>
            </p:cNvPr>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90" name="Freeform 44">
              <a:extLst>
                <a:ext uri="{FF2B5EF4-FFF2-40B4-BE49-F238E27FC236}">
                  <a16:creationId xmlns:a16="http://schemas.microsoft.com/office/drawing/2014/main" id="{F0176353-A1F5-462A-9A18-4793D31719E0}"/>
                </a:ext>
              </a:extLst>
            </p:cNvPr>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91" name="Freeform 45">
              <a:extLst>
                <a:ext uri="{FF2B5EF4-FFF2-40B4-BE49-F238E27FC236}">
                  <a16:creationId xmlns:a16="http://schemas.microsoft.com/office/drawing/2014/main" id="{695A0C31-2E13-4CCF-A5F9-6A2213635E4A}"/>
                </a:ext>
              </a:extLst>
            </p:cNvPr>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92" name="Freeform 46">
              <a:extLst>
                <a:ext uri="{FF2B5EF4-FFF2-40B4-BE49-F238E27FC236}">
                  <a16:creationId xmlns:a16="http://schemas.microsoft.com/office/drawing/2014/main" id="{ACC78EB9-4DD3-4E29-95A0-CB9BD51BDB46}"/>
                </a:ext>
              </a:extLst>
            </p:cNvPr>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93" name="Freeform 47">
              <a:extLst>
                <a:ext uri="{FF2B5EF4-FFF2-40B4-BE49-F238E27FC236}">
                  <a16:creationId xmlns:a16="http://schemas.microsoft.com/office/drawing/2014/main" id="{4D49BBCF-F281-4170-88F0-8C69CE1C3270}"/>
                </a:ext>
              </a:extLst>
            </p:cNvPr>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94" name="Freeform 48">
              <a:extLst>
                <a:ext uri="{FF2B5EF4-FFF2-40B4-BE49-F238E27FC236}">
                  <a16:creationId xmlns:a16="http://schemas.microsoft.com/office/drawing/2014/main" id="{19AA6518-8522-4FD3-BB88-9BBCF1B98703}"/>
                </a:ext>
              </a:extLst>
            </p:cNvPr>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95" name="Freeform 49">
              <a:extLst>
                <a:ext uri="{FF2B5EF4-FFF2-40B4-BE49-F238E27FC236}">
                  <a16:creationId xmlns:a16="http://schemas.microsoft.com/office/drawing/2014/main" id="{208E50C5-87B9-442E-93CF-70DBC8F239DB}"/>
                </a:ext>
              </a:extLst>
            </p:cNvPr>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96" name="Freeform 50">
              <a:extLst>
                <a:ext uri="{FF2B5EF4-FFF2-40B4-BE49-F238E27FC236}">
                  <a16:creationId xmlns:a16="http://schemas.microsoft.com/office/drawing/2014/main" id="{DBC50F82-ADE0-44CF-8C92-C07E6DDC3D9D}"/>
                </a:ext>
              </a:extLst>
            </p:cNvPr>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97" name="Freeform 51">
              <a:extLst>
                <a:ext uri="{FF2B5EF4-FFF2-40B4-BE49-F238E27FC236}">
                  <a16:creationId xmlns:a16="http://schemas.microsoft.com/office/drawing/2014/main" id="{1103C6B3-9CB4-4413-86AE-0CC51381C677}"/>
                </a:ext>
              </a:extLst>
            </p:cNvPr>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98" name="Freeform 52">
              <a:extLst>
                <a:ext uri="{FF2B5EF4-FFF2-40B4-BE49-F238E27FC236}">
                  <a16:creationId xmlns:a16="http://schemas.microsoft.com/office/drawing/2014/main" id="{D2910F5F-9026-48DB-94A7-036A3BC02920}"/>
                </a:ext>
              </a:extLst>
            </p:cNvPr>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99" name="Freeform 53">
              <a:extLst>
                <a:ext uri="{FF2B5EF4-FFF2-40B4-BE49-F238E27FC236}">
                  <a16:creationId xmlns:a16="http://schemas.microsoft.com/office/drawing/2014/main" id="{B9DC771B-FC8F-4EF2-A4B0-EF4059DA7304}"/>
                </a:ext>
              </a:extLst>
            </p:cNvPr>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00" name="Freeform 54">
              <a:extLst>
                <a:ext uri="{FF2B5EF4-FFF2-40B4-BE49-F238E27FC236}">
                  <a16:creationId xmlns:a16="http://schemas.microsoft.com/office/drawing/2014/main" id="{D8113E22-CF51-47F6-BF62-6C1E6C3B5DB8}"/>
                </a:ext>
              </a:extLst>
            </p:cNvPr>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01" name="Freeform 55">
              <a:extLst>
                <a:ext uri="{FF2B5EF4-FFF2-40B4-BE49-F238E27FC236}">
                  <a16:creationId xmlns:a16="http://schemas.microsoft.com/office/drawing/2014/main" id="{08430C47-312E-4DC7-B168-EB1DF3F8DEF4}"/>
                </a:ext>
              </a:extLst>
            </p:cNvPr>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02" name="Freeform 56">
              <a:extLst>
                <a:ext uri="{FF2B5EF4-FFF2-40B4-BE49-F238E27FC236}">
                  <a16:creationId xmlns:a16="http://schemas.microsoft.com/office/drawing/2014/main" id="{BD6E6E71-9740-4549-B69E-31DA7412F1DD}"/>
                </a:ext>
              </a:extLst>
            </p:cNvPr>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03" name="Freeform 57">
              <a:extLst>
                <a:ext uri="{FF2B5EF4-FFF2-40B4-BE49-F238E27FC236}">
                  <a16:creationId xmlns:a16="http://schemas.microsoft.com/office/drawing/2014/main" id="{C627A46A-ECDF-4C94-A921-34B9BBEB2A94}"/>
                </a:ext>
              </a:extLst>
            </p:cNvPr>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04" name="Freeform 58">
              <a:extLst>
                <a:ext uri="{FF2B5EF4-FFF2-40B4-BE49-F238E27FC236}">
                  <a16:creationId xmlns:a16="http://schemas.microsoft.com/office/drawing/2014/main" id="{0B3A32E0-683B-4E9B-8C41-BC4D19AC9FCB}"/>
                </a:ext>
              </a:extLst>
            </p:cNvPr>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sp>
          <p:nvSpPr>
            <p:cNvPr id="105" name="Freeform 59">
              <a:extLst>
                <a:ext uri="{FF2B5EF4-FFF2-40B4-BE49-F238E27FC236}">
                  <a16:creationId xmlns:a16="http://schemas.microsoft.com/office/drawing/2014/main" id="{7BFF5F87-0BBC-4A01-82BF-DBC5E73585CF}"/>
                </a:ext>
              </a:extLst>
            </p:cNvPr>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1799" dirty="0">
                <a:solidFill>
                  <a:srgbClr val="ADBECB"/>
                </a:solidFill>
              </a:endParaRPr>
            </a:p>
          </p:txBody>
        </p:sp>
      </p:grpSp>
    </p:spTree>
    <p:extLst>
      <p:ext uri="{BB962C8B-B14F-4D97-AF65-F5344CB8AC3E}">
        <p14:creationId xmlns:p14="http://schemas.microsoft.com/office/powerpoint/2010/main" val="342629609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702" r:id="rId8"/>
  </p:sldLayoutIdLst>
  <p:hf hdr="0"/>
  <p:txStyles>
    <p:titleStyle>
      <a:lvl1pPr algn="l" rtl="0" eaLnBrk="1" fontAlgn="base" hangingPunct="1">
        <a:spcBef>
          <a:spcPct val="0"/>
        </a:spcBef>
        <a:spcAft>
          <a:spcPct val="0"/>
        </a:spcAft>
        <a:defRPr sz="2199"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1999" b="1">
          <a:solidFill>
            <a:schemeClr val="tx1"/>
          </a:solidFill>
          <a:latin typeface="Arial" charset="0"/>
          <a:ea typeface="ＭＳ Ｐゴシック" charset="-128"/>
        </a:defRPr>
      </a:lvl2pPr>
      <a:lvl3pPr algn="l" rtl="0" eaLnBrk="1" fontAlgn="base" hangingPunct="1">
        <a:spcBef>
          <a:spcPct val="0"/>
        </a:spcBef>
        <a:spcAft>
          <a:spcPct val="0"/>
        </a:spcAft>
        <a:defRPr sz="1999" b="1">
          <a:solidFill>
            <a:schemeClr val="tx1"/>
          </a:solidFill>
          <a:latin typeface="Arial" charset="0"/>
          <a:ea typeface="ＭＳ Ｐゴシック" charset="-128"/>
        </a:defRPr>
      </a:lvl3pPr>
      <a:lvl4pPr algn="l" rtl="0" eaLnBrk="1" fontAlgn="base" hangingPunct="1">
        <a:spcBef>
          <a:spcPct val="0"/>
        </a:spcBef>
        <a:spcAft>
          <a:spcPct val="0"/>
        </a:spcAft>
        <a:defRPr sz="1999" b="1">
          <a:solidFill>
            <a:schemeClr val="tx1"/>
          </a:solidFill>
          <a:latin typeface="Arial" charset="0"/>
          <a:ea typeface="ＭＳ Ｐゴシック" charset="-128"/>
        </a:defRPr>
      </a:lvl4pPr>
      <a:lvl5pPr algn="l" rtl="0" eaLnBrk="1" fontAlgn="base" hangingPunct="1">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marL="0" indent="0" algn="l" rtl="0" eaLnBrk="1" fontAlgn="base" hangingPunct="1">
        <a:lnSpc>
          <a:spcPct val="100000"/>
        </a:lnSpc>
        <a:spcBef>
          <a:spcPts val="0"/>
        </a:spcBef>
        <a:spcAft>
          <a:spcPts val="0"/>
        </a:spcAft>
        <a:buClr>
          <a:schemeClr val="accent1"/>
        </a:buClr>
        <a:buFont typeface="Arial" pitchFamily="34" charset="0"/>
        <a:buNone/>
        <a:tabLst/>
        <a:defRPr sz="1399" b="0" i="0">
          <a:solidFill>
            <a:srgbClr val="000000"/>
          </a:solidFill>
          <a:latin typeface="Arial"/>
          <a:ea typeface="+mn-ea"/>
          <a:cs typeface="Arial" pitchFamily="34" charset="0"/>
        </a:defRPr>
      </a:lvl1pPr>
      <a:lvl2pPr marL="179298" indent="-177711" algn="l" rtl="0" eaLnBrk="1" fontAlgn="base" hangingPunct="1">
        <a:lnSpc>
          <a:spcPct val="100000"/>
        </a:lnSpc>
        <a:spcBef>
          <a:spcPts val="0"/>
        </a:spcBef>
        <a:spcAft>
          <a:spcPts val="0"/>
        </a:spcAft>
        <a:buClr>
          <a:schemeClr val="accent1"/>
        </a:buClr>
        <a:buChar char="•"/>
        <a:tabLst/>
        <a:defRPr sz="1399" b="0" i="0">
          <a:solidFill>
            <a:srgbClr val="000000"/>
          </a:solidFill>
          <a:latin typeface="Arial"/>
          <a:ea typeface="+mn-ea"/>
          <a:cs typeface="Arial" pitchFamily="34" charset="0"/>
        </a:defRPr>
      </a:lvl2pPr>
      <a:lvl3pPr marL="358596" indent="-177711" algn="l" rtl="0" eaLnBrk="1" fontAlgn="base" hangingPunct="1">
        <a:lnSpc>
          <a:spcPct val="100000"/>
        </a:lnSpc>
        <a:spcBef>
          <a:spcPts val="0"/>
        </a:spcBef>
        <a:spcAft>
          <a:spcPts val="0"/>
        </a:spcAft>
        <a:buClr>
          <a:schemeClr val="accent1"/>
        </a:buClr>
        <a:buChar char="•"/>
        <a:tabLst/>
        <a:defRPr sz="1399" b="0" i="0">
          <a:solidFill>
            <a:srgbClr val="000000"/>
          </a:solidFill>
          <a:latin typeface="Arial"/>
          <a:ea typeface="+mn-ea"/>
          <a:cs typeface="Arial" pitchFamily="34" charset="0"/>
        </a:defRPr>
      </a:lvl3pPr>
      <a:lvl4pPr marL="537894" indent="-177711" algn="l" rtl="0" eaLnBrk="1" fontAlgn="base" hangingPunct="1">
        <a:lnSpc>
          <a:spcPct val="100000"/>
        </a:lnSpc>
        <a:spcBef>
          <a:spcPts val="0"/>
        </a:spcBef>
        <a:spcAft>
          <a:spcPts val="0"/>
        </a:spcAft>
        <a:buClr>
          <a:schemeClr val="accent1"/>
        </a:buClr>
        <a:buChar char="•"/>
        <a:tabLst/>
        <a:defRPr sz="1399" b="0" i="0">
          <a:solidFill>
            <a:srgbClr val="000000"/>
          </a:solidFill>
          <a:latin typeface="Arial"/>
          <a:ea typeface="+mn-ea"/>
          <a:cs typeface="Arial" pitchFamily="34" charset="0"/>
        </a:defRPr>
      </a:lvl4pPr>
      <a:lvl5pPr marL="717191" indent="-177711" algn="l" rtl="0" eaLnBrk="1" fontAlgn="base" hangingPunct="1">
        <a:lnSpc>
          <a:spcPct val="100000"/>
        </a:lnSpc>
        <a:spcBef>
          <a:spcPts val="0"/>
        </a:spcBef>
        <a:spcAft>
          <a:spcPts val="0"/>
        </a:spcAft>
        <a:buClr>
          <a:schemeClr val="accent1"/>
        </a:buClr>
        <a:buChar char="•"/>
        <a:tabLst/>
        <a:defRPr sz="1399" b="0" i="0" baseline="0">
          <a:solidFill>
            <a:srgbClr val="000000"/>
          </a:solidFill>
          <a:latin typeface="Arial"/>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a:blip r:embed="rId17"/>
          <a:stretch>
            <a:fillRect/>
          </a:stretch>
        </a:blipFill>
        <a:effectLst/>
      </p:bgPr>
    </p:bg>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79BECCE7-CC32-4813-9D40-67C1EC96AD76}"/>
              </a:ext>
            </a:extLst>
          </p:cNvPr>
          <p:cNvSpPr/>
          <p:nvPr userDrawn="1"/>
        </p:nvSpPr>
        <p:spPr>
          <a:xfrm>
            <a:off x="1" y="6517314"/>
            <a:ext cx="12192000" cy="3406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66"/>
          </a:p>
        </p:txBody>
      </p:sp>
      <p:sp>
        <p:nvSpPr>
          <p:cNvPr id="2" name="Title Placeholder 1"/>
          <p:cNvSpPr>
            <a:spLocks noGrp="1"/>
          </p:cNvSpPr>
          <p:nvPr>
            <p:ph type="title"/>
          </p:nvPr>
        </p:nvSpPr>
        <p:spPr>
          <a:xfrm>
            <a:off x="1350334" y="714699"/>
            <a:ext cx="8575928" cy="584390"/>
          </a:xfrm>
          <a:prstGeom prst="rect">
            <a:avLst/>
          </a:prstGeom>
        </p:spPr>
        <p:txBody>
          <a:bodyPr vert="horz" lIns="0" tIns="0" rIns="0" bIns="0" rtlCol="0" anchor="t">
            <a:spAutoFit/>
          </a:bodyPr>
          <a:lstStyle/>
          <a:p>
            <a:r>
              <a:rPr lang="nb-NO"/>
              <a:t>Klikk for å redigere tittelstil</a:t>
            </a:r>
            <a:endParaRPr lang="en-US" dirty="0"/>
          </a:p>
        </p:txBody>
      </p:sp>
      <p:sp>
        <p:nvSpPr>
          <p:cNvPr id="3" name="Text Placeholder 2"/>
          <p:cNvSpPr>
            <a:spLocks noGrp="1"/>
          </p:cNvSpPr>
          <p:nvPr>
            <p:ph type="body" idx="1"/>
          </p:nvPr>
        </p:nvSpPr>
        <p:spPr>
          <a:xfrm>
            <a:off x="1350335" y="2464998"/>
            <a:ext cx="8945950" cy="3711968"/>
          </a:xfrm>
          <a:prstGeom prst="rect">
            <a:avLst/>
          </a:prstGeom>
        </p:spPr>
        <p:txBody>
          <a:bodyPr vert="horz" lIns="0" tIns="0" rIns="0" bIns="0" rtlCol="0">
            <a:normAutofit/>
          </a:body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2"/>
          </p:nvPr>
        </p:nvSpPr>
        <p:spPr>
          <a:xfrm>
            <a:off x="498065" y="6633484"/>
            <a:ext cx="2743200" cy="108220"/>
          </a:xfrm>
          <a:prstGeom prst="rect">
            <a:avLst/>
          </a:prstGeom>
        </p:spPr>
        <p:txBody>
          <a:bodyPr vert="horz" lIns="0" tIns="0" rIns="0" bIns="0" rtlCol="0" anchor="ctr">
            <a:spAutoFit/>
          </a:bodyPr>
          <a:lstStyle>
            <a:lvl1pPr algn="l">
              <a:defRPr sz="703">
                <a:solidFill>
                  <a:schemeClr val="lt1"/>
                </a:solidFill>
              </a:defRPr>
            </a:lvl1pPr>
          </a:lstStyle>
          <a:p>
            <a:r>
              <a:rPr lang="nb-NO" dirty="0"/>
              <a:t>Dato</a:t>
            </a:r>
          </a:p>
        </p:txBody>
      </p:sp>
      <p:sp>
        <p:nvSpPr>
          <p:cNvPr id="6" name="Slide Number Placeholder 5"/>
          <p:cNvSpPr>
            <a:spLocks noGrp="1"/>
          </p:cNvSpPr>
          <p:nvPr>
            <p:ph type="sldNum" sz="quarter" idx="4"/>
          </p:nvPr>
        </p:nvSpPr>
        <p:spPr>
          <a:xfrm>
            <a:off x="130932" y="6633484"/>
            <a:ext cx="188053" cy="108220"/>
          </a:xfrm>
          <a:prstGeom prst="rect">
            <a:avLst/>
          </a:prstGeom>
        </p:spPr>
        <p:txBody>
          <a:bodyPr vert="horz" wrap="square" lIns="0" tIns="0" rIns="0" bIns="0" rtlCol="0" anchor="ctr">
            <a:spAutoFit/>
          </a:bodyPr>
          <a:lstStyle>
            <a:lvl1pPr algn="r">
              <a:defRPr sz="703" b="1">
                <a:solidFill>
                  <a:schemeClr val="lt1"/>
                </a:solidFill>
              </a:defRPr>
            </a:lvl1pPr>
          </a:lstStyle>
          <a:p>
            <a:fld id="{D5DAC896-3290-4F14-BAAE-6BA5F8CCFA8A}" type="slidenum">
              <a:rPr lang="nb-NO" smtClean="0"/>
              <a:pPr/>
              <a:t>‹#›</a:t>
            </a:fld>
            <a:endParaRPr lang="nb-NO" dirty="0"/>
          </a:p>
        </p:txBody>
      </p:sp>
      <p:cxnSp>
        <p:nvCxnSpPr>
          <p:cNvPr id="16" name="Rett linje 15">
            <a:extLst>
              <a:ext uri="{FF2B5EF4-FFF2-40B4-BE49-F238E27FC236}">
                <a16:creationId xmlns:a16="http://schemas.microsoft.com/office/drawing/2014/main" id="{890384CB-A8C3-4348-83D4-F68D61547F7F}"/>
              </a:ext>
            </a:extLst>
          </p:cNvPr>
          <p:cNvCxnSpPr/>
          <p:nvPr userDrawn="1"/>
        </p:nvCxnSpPr>
        <p:spPr>
          <a:xfrm>
            <a:off x="410291" y="6644201"/>
            <a:ext cx="0" cy="108220"/>
          </a:xfrm>
          <a:prstGeom prst="line">
            <a:avLst/>
          </a:prstGeom>
          <a:ln w="12700">
            <a:solidFill>
              <a:schemeClr val="lt1"/>
            </a:solidFill>
          </a:ln>
        </p:spPr>
        <p:style>
          <a:lnRef idx="1">
            <a:schemeClr val="accent1"/>
          </a:lnRef>
          <a:fillRef idx="0">
            <a:schemeClr val="accent1"/>
          </a:fillRef>
          <a:effectRef idx="0">
            <a:schemeClr val="accent1"/>
          </a:effectRef>
          <a:fontRef idx="minor">
            <a:schemeClr val="tx1"/>
          </a:fontRef>
        </p:style>
      </p:cxnSp>
      <p:sp>
        <p:nvSpPr>
          <p:cNvPr id="12" name="Ellipse 11">
            <a:extLst>
              <a:ext uri="{FF2B5EF4-FFF2-40B4-BE49-F238E27FC236}">
                <a16:creationId xmlns:a16="http://schemas.microsoft.com/office/drawing/2014/main" id="{1D023662-547A-4641-A306-275656F81D68}"/>
              </a:ext>
            </a:extLst>
          </p:cNvPr>
          <p:cNvSpPr/>
          <p:nvPr userDrawn="1"/>
        </p:nvSpPr>
        <p:spPr>
          <a:xfrm>
            <a:off x="10758710" y="344255"/>
            <a:ext cx="1012654" cy="10126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66"/>
          </a:p>
        </p:txBody>
      </p:sp>
      <p:pic>
        <p:nvPicPr>
          <p:cNvPr id="13" name="Bilde 12">
            <a:extLst>
              <a:ext uri="{FF2B5EF4-FFF2-40B4-BE49-F238E27FC236}">
                <a16:creationId xmlns:a16="http://schemas.microsoft.com/office/drawing/2014/main" id="{987FDECA-DF10-4D2A-AC29-BB1416B79B51}"/>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10758710" y="344255"/>
            <a:ext cx="1012654" cy="1012665"/>
          </a:xfrm>
          <a:prstGeom prst="rect">
            <a:avLst/>
          </a:prstGeom>
        </p:spPr>
      </p:pic>
      <p:pic>
        <p:nvPicPr>
          <p:cNvPr id="14" name="Bilde 13">
            <a:extLst>
              <a:ext uri="{FF2B5EF4-FFF2-40B4-BE49-F238E27FC236}">
                <a16:creationId xmlns:a16="http://schemas.microsoft.com/office/drawing/2014/main" id="{40D4CD59-31FC-42F6-A44C-2DFF7DA4674E}"/>
              </a:ext>
            </a:extLst>
          </p:cNvPr>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a:off x="9499819" y="6592209"/>
            <a:ext cx="2692181" cy="265791"/>
          </a:xfrm>
          <a:prstGeom prst="rect">
            <a:avLst/>
          </a:prstGeom>
        </p:spPr>
      </p:pic>
    </p:spTree>
    <p:extLst>
      <p:ext uri="{BB962C8B-B14F-4D97-AF65-F5344CB8AC3E}">
        <p14:creationId xmlns:p14="http://schemas.microsoft.com/office/powerpoint/2010/main" val="576048759"/>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Lst>
  <p:hf hdr="0" ftr="0"/>
  <p:txStyles>
    <p:titleStyle>
      <a:lvl1pPr algn="l" defTabSz="914332" rtl="0" eaLnBrk="1" latinLnBrk="0" hangingPunct="1">
        <a:lnSpc>
          <a:spcPct val="100000"/>
        </a:lnSpc>
        <a:spcBef>
          <a:spcPct val="0"/>
        </a:spcBef>
        <a:buNone/>
        <a:defRPr sz="3797" b="1" kern="1200">
          <a:solidFill>
            <a:schemeClr val="tx1"/>
          </a:solidFill>
          <a:latin typeface="+mj-lt"/>
          <a:ea typeface="+mj-ea"/>
          <a:cs typeface="+mj-cs"/>
        </a:defRPr>
      </a:lvl1pPr>
    </p:titleStyle>
    <p:bodyStyle>
      <a:lvl1pPr marL="228583" indent="-228583" algn="l" defTabSz="914332" rtl="0" eaLnBrk="1" latinLnBrk="0" hangingPunct="1">
        <a:lnSpc>
          <a:spcPct val="100000"/>
        </a:lnSpc>
        <a:spcBef>
          <a:spcPts val="0"/>
        </a:spcBef>
        <a:buClr>
          <a:schemeClr val="tx2"/>
        </a:buClr>
        <a:buFont typeface="Arial" panose="020B0604020202020204" pitchFamily="34" charset="0"/>
        <a:buChar char="•"/>
        <a:defRPr sz="2602" kern="1200">
          <a:solidFill>
            <a:schemeClr val="tx1"/>
          </a:solidFill>
          <a:latin typeface="+mn-lt"/>
          <a:ea typeface="+mn-ea"/>
          <a:cs typeface="+mn-cs"/>
        </a:defRPr>
      </a:lvl1pPr>
      <a:lvl2pPr marL="685749" indent="-228583" algn="l" defTabSz="914332" rtl="0" eaLnBrk="1" latinLnBrk="0" hangingPunct="1">
        <a:lnSpc>
          <a:spcPct val="100000"/>
        </a:lnSpc>
        <a:spcBef>
          <a:spcPts val="0"/>
        </a:spcBef>
        <a:buClr>
          <a:schemeClr val="tx2"/>
        </a:buClr>
        <a:buFont typeface="Arial" panose="020B0604020202020204" pitchFamily="34" charset="0"/>
        <a:buChar char="•"/>
        <a:defRPr sz="2602" kern="1200">
          <a:solidFill>
            <a:schemeClr val="tx1"/>
          </a:solidFill>
          <a:latin typeface="+mn-lt"/>
          <a:ea typeface="+mn-ea"/>
          <a:cs typeface="+mn-cs"/>
        </a:defRPr>
      </a:lvl2pPr>
      <a:lvl3pPr marL="1142915" indent="-228583" algn="l" defTabSz="914332" rtl="0" eaLnBrk="1" latinLnBrk="0" hangingPunct="1">
        <a:lnSpc>
          <a:spcPct val="100000"/>
        </a:lnSpc>
        <a:spcBef>
          <a:spcPts val="0"/>
        </a:spcBef>
        <a:buClr>
          <a:schemeClr val="tx2"/>
        </a:buClr>
        <a:buFont typeface="Arial" panose="020B0604020202020204" pitchFamily="34" charset="0"/>
        <a:buChar char="•"/>
        <a:defRPr sz="2602" kern="1200">
          <a:solidFill>
            <a:schemeClr val="tx1"/>
          </a:solidFill>
          <a:latin typeface="+mn-lt"/>
          <a:ea typeface="+mn-ea"/>
          <a:cs typeface="+mn-cs"/>
        </a:defRPr>
      </a:lvl3pPr>
      <a:lvl4pPr marL="1600080" indent="-228583" algn="l" defTabSz="914332" rtl="0" eaLnBrk="1" latinLnBrk="0" hangingPunct="1">
        <a:lnSpc>
          <a:spcPct val="100000"/>
        </a:lnSpc>
        <a:spcBef>
          <a:spcPts val="0"/>
        </a:spcBef>
        <a:buClr>
          <a:schemeClr val="tx2"/>
        </a:buClr>
        <a:buFont typeface="Arial" panose="020B0604020202020204" pitchFamily="34" charset="0"/>
        <a:buChar char="•"/>
        <a:defRPr sz="2602" kern="1200">
          <a:solidFill>
            <a:schemeClr val="tx1"/>
          </a:solidFill>
          <a:latin typeface="+mn-lt"/>
          <a:ea typeface="+mn-ea"/>
          <a:cs typeface="+mn-cs"/>
        </a:defRPr>
      </a:lvl4pPr>
      <a:lvl5pPr marL="2057247" indent="-228583" algn="l" defTabSz="914332" rtl="0" eaLnBrk="1" latinLnBrk="0" hangingPunct="1">
        <a:lnSpc>
          <a:spcPct val="100000"/>
        </a:lnSpc>
        <a:spcBef>
          <a:spcPts val="0"/>
        </a:spcBef>
        <a:buClr>
          <a:schemeClr val="tx2"/>
        </a:buClr>
        <a:buFont typeface="Arial" panose="020B0604020202020204" pitchFamily="34" charset="0"/>
        <a:buChar char="•"/>
        <a:defRPr sz="2602" kern="1200">
          <a:solidFill>
            <a:schemeClr val="tx1"/>
          </a:solidFill>
          <a:latin typeface="+mn-lt"/>
          <a:ea typeface="+mn-ea"/>
          <a:cs typeface="+mn-cs"/>
        </a:defRPr>
      </a:lvl5pPr>
      <a:lvl6pPr marL="2514413" indent="-228583"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3"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3"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3"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6"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7"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5" algn="l" defTabSz="914332" rtl="0" eaLnBrk="1" latinLnBrk="0" hangingPunct="1">
        <a:defRPr sz="1800" kern="1200">
          <a:solidFill>
            <a:schemeClr val="tx1"/>
          </a:solidFill>
          <a:latin typeface="+mn-lt"/>
          <a:ea typeface="+mn-ea"/>
          <a:cs typeface="+mn-cs"/>
        </a:defRPr>
      </a:lvl7pPr>
      <a:lvl8pPr marL="3200161"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a:blip r:embed="rId17"/>
          <a:stretch>
            <a:fillRect/>
          </a:stretch>
        </a:blipFill>
        <a:effectLst/>
      </p:bgPr>
    </p:bg>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79BECCE7-CC32-4813-9D40-67C1EC96AD76}"/>
              </a:ext>
            </a:extLst>
          </p:cNvPr>
          <p:cNvSpPr/>
          <p:nvPr userDrawn="1"/>
        </p:nvSpPr>
        <p:spPr>
          <a:xfrm>
            <a:off x="1" y="6517314"/>
            <a:ext cx="12192000" cy="3406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66"/>
          </a:p>
        </p:txBody>
      </p:sp>
      <p:sp>
        <p:nvSpPr>
          <p:cNvPr id="2" name="Title Placeholder 1"/>
          <p:cNvSpPr>
            <a:spLocks noGrp="1"/>
          </p:cNvSpPr>
          <p:nvPr>
            <p:ph type="title"/>
          </p:nvPr>
        </p:nvSpPr>
        <p:spPr>
          <a:xfrm>
            <a:off x="1350334" y="714699"/>
            <a:ext cx="8575928" cy="584390"/>
          </a:xfrm>
          <a:prstGeom prst="rect">
            <a:avLst/>
          </a:prstGeom>
        </p:spPr>
        <p:txBody>
          <a:bodyPr vert="horz" lIns="0" tIns="0" rIns="0" bIns="0" rtlCol="0" anchor="t">
            <a:spAutoFit/>
          </a:bodyPr>
          <a:lstStyle/>
          <a:p>
            <a:r>
              <a:rPr lang="nb-NO"/>
              <a:t>Klikk for å redigere tittelstil</a:t>
            </a:r>
            <a:endParaRPr lang="en-US" dirty="0"/>
          </a:p>
        </p:txBody>
      </p:sp>
      <p:sp>
        <p:nvSpPr>
          <p:cNvPr id="3" name="Text Placeholder 2"/>
          <p:cNvSpPr>
            <a:spLocks noGrp="1"/>
          </p:cNvSpPr>
          <p:nvPr>
            <p:ph type="body" idx="1"/>
          </p:nvPr>
        </p:nvSpPr>
        <p:spPr>
          <a:xfrm>
            <a:off x="1350335" y="2464998"/>
            <a:ext cx="8945950" cy="3711968"/>
          </a:xfrm>
          <a:prstGeom prst="rect">
            <a:avLst/>
          </a:prstGeom>
        </p:spPr>
        <p:txBody>
          <a:bodyPr vert="horz" lIns="0" tIns="0" rIns="0" bIns="0" rtlCol="0">
            <a:normAutofit/>
          </a:body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2"/>
          </p:nvPr>
        </p:nvSpPr>
        <p:spPr>
          <a:xfrm>
            <a:off x="498065" y="6633484"/>
            <a:ext cx="2743200" cy="108220"/>
          </a:xfrm>
          <a:prstGeom prst="rect">
            <a:avLst/>
          </a:prstGeom>
        </p:spPr>
        <p:txBody>
          <a:bodyPr vert="horz" lIns="0" tIns="0" rIns="0" bIns="0" rtlCol="0" anchor="ctr">
            <a:spAutoFit/>
          </a:bodyPr>
          <a:lstStyle>
            <a:lvl1pPr algn="l">
              <a:defRPr sz="703">
                <a:solidFill>
                  <a:schemeClr val="lt1"/>
                </a:solidFill>
              </a:defRPr>
            </a:lvl1pPr>
          </a:lstStyle>
          <a:p>
            <a:r>
              <a:rPr lang="nb-NO" dirty="0"/>
              <a:t>Dato</a:t>
            </a:r>
          </a:p>
        </p:txBody>
      </p:sp>
      <p:sp>
        <p:nvSpPr>
          <p:cNvPr id="6" name="Slide Number Placeholder 5"/>
          <p:cNvSpPr>
            <a:spLocks noGrp="1"/>
          </p:cNvSpPr>
          <p:nvPr>
            <p:ph type="sldNum" sz="quarter" idx="4"/>
          </p:nvPr>
        </p:nvSpPr>
        <p:spPr>
          <a:xfrm>
            <a:off x="130932" y="6633484"/>
            <a:ext cx="188053" cy="108220"/>
          </a:xfrm>
          <a:prstGeom prst="rect">
            <a:avLst/>
          </a:prstGeom>
        </p:spPr>
        <p:txBody>
          <a:bodyPr vert="horz" wrap="square" lIns="0" tIns="0" rIns="0" bIns="0" rtlCol="0" anchor="ctr">
            <a:spAutoFit/>
          </a:bodyPr>
          <a:lstStyle>
            <a:lvl1pPr algn="r">
              <a:defRPr sz="703" b="1">
                <a:solidFill>
                  <a:schemeClr val="lt1"/>
                </a:solidFill>
              </a:defRPr>
            </a:lvl1pPr>
          </a:lstStyle>
          <a:p>
            <a:fld id="{D5DAC896-3290-4F14-BAAE-6BA5F8CCFA8A}" type="slidenum">
              <a:rPr lang="nb-NO" smtClean="0"/>
              <a:pPr/>
              <a:t>‹#›</a:t>
            </a:fld>
            <a:endParaRPr lang="nb-NO" dirty="0"/>
          </a:p>
        </p:txBody>
      </p:sp>
      <p:cxnSp>
        <p:nvCxnSpPr>
          <p:cNvPr id="16" name="Rett linje 15">
            <a:extLst>
              <a:ext uri="{FF2B5EF4-FFF2-40B4-BE49-F238E27FC236}">
                <a16:creationId xmlns:a16="http://schemas.microsoft.com/office/drawing/2014/main" id="{890384CB-A8C3-4348-83D4-F68D61547F7F}"/>
              </a:ext>
            </a:extLst>
          </p:cNvPr>
          <p:cNvCxnSpPr/>
          <p:nvPr userDrawn="1"/>
        </p:nvCxnSpPr>
        <p:spPr>
          <a:xfrm>
            <a:off x="410291" y="6644201"/>
            <a:ext cx="0" cy="108220"/>
          </a:xfrm>
          <a:prstGeom prst="line">
            <a:avLst/>
          </a:prstGeom>
          <a:ln w="12700">
            <a:solidFill>
              <a:schemeClr val="lt1"/>
            </a:solidFill>
          </a:ln>
        </p:spPr>
        <p:style>
          <a:lnRef idx="1">
            <a:schemeClr val="accent1"/>
          </a:lnRef>
          <a:fillRef idx="0">
            <a:schemeClr val="accent1"/>
          </a:fillRef>
          <a:effectRef idx="0">
            <a:schemeClr val="accent1"/>
          </a:effectRef>
          <a:fontRef idx="minor">
            <a:schemeClr val="tx1"/>
          </a:fontRef>
        </p:style>
      </p:cxnSp>
      <p:sp>
        <p:nvSpPr>
          <p:cNvPr id="12" name="Ellipse 11">
            <a:extLst>
              <a:ext uri="{FF2B5EF4-FFF2-40B4-BE49-F238E27FC236}">
                <a16:creationId xmlns:a16="http://schemas.microsoft.com/office/drawing/2014/main" id="{1D023662-547A-4641-A306-275656F81D68}"/>
              </a:ext>
            </a:extLst>
          </p:cNvPr>
          <p:cNvSpPr/>
          <p:nvPr userDrawn="1"/>
        </p:nvSpPr>
        <p:spPr>
          <a:xfrm>
            <a:off x="10758710" y="344255"/>
            <a:ext cx="1012654" cy="10126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66"/>
          </a:p>
        </p:txBody>
      </p:sp>
      <p:pic>
        <p:nvPicPr>
          <p:cNvPr id="13" name="Bilde 12">
            <a:extLst>
              <a:ext uri="{FF2B5EF4-FFF2-40B4-BE49-F238E27FC236}">
                <a16:creationId xmlns:a16="http://schemas.microsoft.com/office/drawing/2014/main" id="{987FDECA-DF10-4D2A-AC29-BB1416B79B51}"/>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10758710" y="344255"/>
            <a:ext cx="1012654" cy="1012665"/>
          </a:xfrm>
          <a:prstGeom prst="rect">
            <a:avLst/>
          </a:prstGeom>
        </p:spPr>
      </p:pic>
      <p:pic>
        <p:nvPicPr>
          <p:cNvPr id="14" name="Bilde 13">
            <a:extLst>
              <a:ext uri="{FF2B5EF4-FFF2-40B4-BE49-F238E27FC236}">
                <a16:creationId xmlns:a16="http://schemas.microsoft.com/office/drawing/2014/main" id="{40D4CD59-31FC-42F6-A44C-2DFF7DA4674E}"/>
              </a:ext>
            </a:extLst>
          </p:cNvPr>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a:off x="9499819" y="6592209"/>
            <a:ext cx="2692181" cy="265791"/>
          </a:xfrm>
          <a:prstGeom prst="rect">
            <a:avLst/>
          </a:prstGeom>
        </p:spPr>
      </p:pic>
    </p:spTree>
    <p:extLst>
      <p:ext uri="{BB962C8B-B14F-4D97-AF65-F5344CB8AC3E}">
        <p14:creationId xmlns:p14="http://schemas.microsoft.com/office/powerpoint/2010/main" val="3773989247"/>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Lst>
  <p:hf hdr="0" ftr="0"/>
  <p:txStyles>
    <p:titleStyle>
      <a:lvl1pPr algn="l" defTabSz="914332" rtl="0" eaLnBrk="1" latinLnBrk="0" hangingPunct="1">
        <a:lnSpc>
          <a:spcPct val="100000"/>
        </a:lnSpc>
        <a:spcBef>
          <a:spcPct val="0"/>
        </a:spcBef>
        <a:buNone/>
        <a:defRPr sz="3797" b="1" kern="1200">
          <a:solidFill>
            <a:schemeClr val="tx1"/>
          </a:solidFill>
          <a:latin typeface="+mj-lt"/>
          <a:ea typeface="+mj-ea"/>
          <a:cs typeface="+mj-cs"/>
        </a:defRPr>
      </a:lvl1pPr>
    </p:titleStyle>
    <p:bodyStyle>
      <a:lvl1pPr marL="228583" indent="-228583" algn="l" defTabSz="914332" rtl="0" eaLnBrk="1" latinLnBrk="0" hangingPunct="1">
        <a:lnSpc>
          <a:spcPct val="100000"/>
        </a:lnSpc>
        <a:spcBef>
          <a:spcPts val="0"/>
        </a:spcBef>
        <a:buClr>
          <a:schemeClr val="tx2"/>
        </a:buClr>
        <a:buFont typeface="Arial" panose="020B0604020202020204" pitchFamily="34" charset="0"/>
        <a:buChar char="•"/>
        <a:defRPr sz="2602" kern="1200">
          <a:solidFill>
            <a:schemeClr val="tx1"/>
          </a:solidFill>
          <a:latin typeface="+mn-lt"/>
          <a:ea typeface="+mn-ea"/>
          <a:cs typeface="+mn-cs"/>
        </a:defRPr>
      </a:lvl1pPr>
      <a:lvl2pPr marL="685749" indent="-228583" algn="l" defTabSz="914332" rtl="0" eaLnBrk="1" latinLnBrk="0" hangingPunct="1">
        <a:lnSpc>
          <a:spcPct val="100000"/>
        </a:lnSpc>
        <a:spcBef>
          <a:spcPts val="0"/>
        </a:spcBef>
        <a:buClr>
          <a:schemeClr val="tx2"/>
        </a:buClr>
        <a:buFont typeface="Arial" panose="020B0604020202020204" pitchFamily="34" charset="0"/>
        <a:buChar char="•"/>
        <a:defRPr sz="2602" kern="1200">
          <a:solidFill>
            <a:schemeClr val="tx1"/>
          </a:solidFill>
          <a:latin typeface="+mn-lt"/>
          <a:ea typeface="+mn-ea"/>
          <a:cs typeface="+mn-cs"/>
        </a:defRPr>
      </a:lvl2pPr>
      <a:lvl3pPr marL="1142915" indent="-228583" algn="l" defTabSz="914332" rtl="0" eaLnBrk="1" latinLnBrk="0" hangingPunct="1">
        <a:lnSpc>
          <a:spcPct val="100000"/>
        </a:lnSpc>
        <a:spcBef>
          <a:spcPts val="0"/>
        </a:spcBef>
        <a:buClr>
          <a:schemeClr val="tx2"/>
        </a:buClr>
        <a:buFont typeface="Arial" panose="020B0604020202020204" pitchFamily="34" charset="0"/>
        <a:buChar char="•"/>
        <a:defRPr sz="2602" kern="1200">
          <a:solidFill>
            <a:schemeClr val="tx1"/>
          </a:solidFill>
          <a:latin typeface="+mn-lt"/>
          <a:ea typeface="+mn-ea"/>
          <a:cs typeface="+mn-cs"/>
        </a:defRPr>
      </a:lvl3pPr>
      <a:lvl4pPr marL="1600080" indent="-228583" algn="l" defTabSz="914332" rtl="0" eaLnBrk="1" latinLnBrk="0" hangingPunct="1">
        <a:lnSpc>
          <a:spcPct val="100000"/>
        </a:lnSpc>
        <a:spcBef>
          <a:spcPts val="0"/>
        </a:spcBef>
        <a:buClr>
          <a:schemeClr val="tx2"/>
        </a:buClr>
        <a:buFont typeface="Arial" panose="020B0604020202020204" pitchFamily="34" charset="0"/>
        <a:buChar char="•"/>
        <a:defRPr sz="2602" kern="1200">
          <a:solidFill>
            <a:schemeClr val="tx1"/>
          </a:solidFill>
          <a:latin typeface="+mn-lt"/>
          <a:ea typeface="+mn-ea"/>
          <a:cs typeface="+mn-cs"/>
        </a:defRPr>
      </a:lvl4pPr>
      <a:lvl5pPr marL="2057247" indent="-228583" algn="l" defTabSz="914332" rtl="0" eaLnBrk="1" latinLnBrk="0" hangingPunct="1">
        <a:lnSpc>
          <a:spcPct val="100000"/>
        </a:lnSpc>
        <a:spcBef>
          <a:spcPts val="0"/>
        </a:spcBef>
        <a:buClr>
          <a:schemeClr val="tx2"/>
        </a:buClr>
        <a:buFont typeface="Arial" panose="020B0604020202020204" pitchFamily="34" charset="0"/>
        <a:buChar char="•"/>
        <a:defRPr sz="2602" kern="1200">
          <a:solidFill>
            <a:schemeClr val="tx1"/>
          </a:solidFill>
          <a:latin typeface="+mn-lt"/>
          <a:ea typeface="+mn-ea"/>
          <a:cs typeface="+mn-cs"/>
        </a:defRPr>
      </a:lvl5pPr>
      <a:lvl6pPr marL="2514413" indent="-228583"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3"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3"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3"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6"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7"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5" algn="l" defTabSz="914332" rtl="0" eaLnBrk="1" latinLnBrk="0" hangingPunct="1">
        <a:defRPr sz="1800" kern="1200">
          <a:solidFill>
            <a:schemeClr val="tx1"/>
          </a:solidFill>
          <a:latin typeface="+mn-lt"/>
          <a:ea typeface="+mn-ea"/>
          <a:cs typeface="+mn-cs"/>
        </a:defRPr>
      </a:lvl7pPr>
      <a:lvl8pPr marL="3200161"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0864" y="476250"/>
            <a:ext cx="11090274" cy="720502"/>
          </a:xfrm>
          <a:prstGeom prst="rect">
            <a:avLst/>
          </a:prstGeom>
        </p:spPr>
        <p:txBody>
          <a:bodyPr vert="horz" lIns="0" tIns="0" rIns="0" bIns="0" rtlCol="0" anchor="t" anchorCtr="0">
            <a:noAutofit/>
          </a:bodyPr>
          <a:lstStyle/>
          <a:p>
            <a:r>
              <a:rPr lang="nb-NO"/>
              <a:t>Klikk for å redigere tittelstil</a:t>
            </a:r>
            <a:endParaRPr lang="en-US" dirty="0"/>
          </a:p>
        </p:txBody>
      </p:sp>
      <p:sp>
        <p:nvSpPr>
          <p:cNvPr id="3" name="Text Placeholder 2"/>
          <p:cNvSpPr>
            <a:spLocks noGrp="1"/>
          </p:cNvSpPr>
          <p:nvPr>
            <p:ph type="body" idx="1"/>
          </p:nvPr>
        </p:nvSpPr>
        <p:spPr>
          <a:xfrm>
            <a:off x="550864" y="1484317"/>
            <a:ext cx="11090274" cy="4608511"/>
          </a:xfrm>
          <a:prstGeom prst="rect">
            <a:avLst/>
          </a:prstGeom>
        </p:spPr>
        <p:txBody>
          <a:bodyPr vert="horz" lIns="0" tIns="0" rIns="0" bIns="0" rtlCol="0" anchor="t" anchorCtr="0">
            <a:normAutofit/>
          </a:body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2"/>
          </p:nvPr>
        </p:nvSpPr>
        <p:spPr>
          <a:xfrm>
            <a:off x="839269" y="6345238"/>
            <a:ext cx="1440382" cy="252412"/>
          </a:xfrm>
          <a:prstGeom prst="rect">
            <a:avLst/>
          </a:prstGeom>
        </p:spPr>
        <p:txBody>
          <a:bodyPr vert="horz" lIns="72000" tIns="0" rIns="72000" bIns="0" rtlCol="0" anchor="ctr" anchorCtr="0">
            <a:noAutofit/>
          </a:bodyPr>
          <a:lstStyle>
            <a:lvl1pPr algn="l">
              <a:defRPr sz="900" b="0">
                <a:solidFill>
                  <a:schemeClr val="tx1"/>
                </a:solidFill>
              </a:defRPr>
            </a:lvl1pPr>
          </a:lstStyle>
          <a:p>
            <a:fld id="{8BF2FB3D-F1E0-49B1-9E7B-68A22CAF1D5E}" type="datetime1">
              <a:rPr lang="en-US" smtClean="0"/>
              <a:pPr/>
              <a:t>5/29/19</a:t>
            </a:fld>
            <a:endParaRPr lang="en-US" dirty="0"/>
          </a:p>
        </p:txBody>
      </p:sp>
      <p:sp>
        <p:nvSpPr>
          <p:cNvPr id="5" name="Footer Placeholder 4"/>
          <p:cNvSpPr>
            <a:spLocks noGrp="1"/>
          </p:cNvSpPr>
          <p:nvPr>
            <p:ph type="ftr" sz="quarter" idx="3"/>
          </p:nvPr>
        </p:nvSpPr>
        <p:spPr>
          <a:xfrm>
            <a:off x="2279652" y="6345238"/>
            <a:ext cx="7488238" cy="252412"/>
          </a:xfrm>
          <a:prstGeom prst="rect">
            <a:avLst/>
          </a:prstGeom>
        </p:spPr>
        <p:txBody>
          <a:bodyPr vert="horz" lIns="72000" tIns="0" rIns="72000" bIns="0" rtlCol="0" anchor="ctr" anchorCtr="0">
            <a:noAutofit/>
          </a:bodyPr>
          <a:lstStyle>
            <a:lvl1pPr algn="l">
              <a:defRPr sz="900" b="0">
                <a:solidFill>
                  <a:schemeClr val="tx1"/>
                </a:solidFill>
              </a:defRPr>
            </a:lvl1pPr>
          </a:lstStyle>
          <a:p>
            <a:endParaRPr lang="en-US" dirty="0"/>
          </a:p>
        </p:txBody>
      </p:sp>
      <p:sp>
        <p:nvSpPr>
          <p:cNvPr id="6" name="Slide Number Placeholder 5"/>
          <p:cNvSpPr>
            <a:spLocks noGrp="1"/>
          </p:cNvSpPr>
          <p:nvPr>
            <p:ph type="sldNum" sz="quarter" idx="4"/>
          </p:nvPr>
        </p:nvSpPr>
        <p:spPr>
          <a:xfrm>
            <a:off x="550864" y="6345240"/>
            <a:ext cx="288407" cy="252089"/>
          </a:xfrm>
          <a:prstGeom prst="rect">
            <a:avLst/>
          </a:prstGeom>
          <a:noFill/>
        </p:spPr>
        <p:txBody>
          <a:bodyPr vert="horz" wrap="none" lIns="0" tIns="0" rIns="0" bIns="0" rtlCol="0" anchor="ctr" anchorCtr="0">
            <a:noAutofit/>
          </a:bodyPr>
          <a:lstStyle>
            <a:lvl1pPr algn="l">
              <a:defRPr sz="900" b="0">
                <a:solidFill>
                  <a:schemeClr val="tx1"/>
                </a:solidFill>
              </a:defRPr>
            </a:lvl1pPr>
          </a:lstStyle>
          <a:p>
            <a:fld id="{F90E5A77-D385-4CDE-8FE8-D3E3CBE93E71}" type="slidenum">
              <a:rPr lang="en-US" smtClean="0"/>
              <a:pPr/>
              <a:t>‹#›</a:t>
            </a:fld>
            <a:endParaRPr lang="en-US" dirty="0"/>
          </a:p>
        </p:txBody>
      </p:sp>
      <p:sp>
        <p:nvSpPr>
          <p:cNvPr id="8" name="(c)" hidden="1"/>
          <p:cNvSpPr txBox="1"/>
          <p:nvPr/>
        </p:nvSpPr>
        <p:spPr>
          <a:xfrm>
            <a:off x="11991328" y="6885480"/>
            <a:ext cx="193963" cy="30778"/>
          </a:xfrm>
          <a:prstGeom prst="rect">
            <a:avLst/>
          </a:prstGeom>
          <a:noFill/>
        </p:spPr>
        <p:txBody>
          <a:bodyPr wrap="none" lIns="0" tIns="0" rIns="0" bIns="0" rtlCol="0">
            <a:spAutoFit/>
          </a:bodyPr>
          <a:lstStyle/>
          <a:p>
            <a:pPr algn="r"/>
            <a:r>
              <a:rPr lang="fi-FI" sz="200" dirty="0">
                <a:solidFill>
                  <a:schemeClr val="bg1"/>
                </a:solidFill>
              </a:rPr>
              <a:t>©</a:t>
            </a:r>
            <a:r>
              <a:rPr lang="fi-FI" sz="200" dirty="0" err="1">
                <a:solidFill>
                  <a:schemeClr val="bg1"/>
                </a:solidFill>
              </a:rPr>
              <a:t>grow</a:t>
            </a:r>
            <a:r>
              <a:rPr lang="fi-FI" sz="200">
                <a:solidFill>
                  <a:schemeClr val="bg1"/>
                </a:solidFill>
              </a:rPr>
              <a:t>. for</a:t>
            </a:r>
            <a:r>
              <a:rPr lang="fi-FI" sz="200" baseline="0">
                <a:solidFill>
                  <a:schemeClr val="bg1"/>
                </a:solidFill>
              </a:rPr>
              <a:t> fortum</a:t>
            </a:r>
            <a:endParaRPr lang="en-GB" sz="200" err="1">
              <a:solidFill>
                <a:schemeClr val="bg1"/>
              </a:solidFill>
            </a:endParaRPr>
          </a:p>
        </p:txBody>
      </p:sp>
      <p:sp>
        <p:nvSpPr>
          <p:cNvPr id="15" name="Freeform 7"/>
          <p:cNvSpPr>
            <a:spLocks noChangeAspect="1" noEditPoints="1"/>
          </p:cNvSpPr>
          <p:nvPr userDrawn="1"/>
        </p:nvSpPr>
        <p:spPr bwMode="auto">
          <a:xfrm>
            <a:off x="10419384" y="6306914"/>
            <a:ext cx="1218166" cy="286381"/>
          </a:xfrm>
          <a:custGeom>
            <a:avLst/>
            <a:gdLst>
              <a:gd name="T0" fmla="*/ 3454 w 8720"/>
              <a:gd name="T1" fmla="*/ 1049 h 2050"/>
              <a:gd name="T2" fmla="*/ 3166 w 8720"/>
              <a:gd name="T3" fmla="*/ 1051 h 2050"/>
              <a:gd name="T4" fmla="*/ 3068 w 8720"/>
              <a:gd name="T5" fmla="*/ 1409 h 2050"/>
              <a:gd name="T6" fmla="*/ 3261 w 8720"/>
              <a:gd name="T7" fmla="*/ 1675 h 2050"/>
              <a:gd name="T8" fmla="*/ 3519 w 8720"/>
              <a:gd name="T9" fmla="*/ 1539 h 2050"/>
              <a:gd name="T10" fmla="*/ 3863 w 8720"/>
              <a:gd name="T11" fmla="*/ 1565 h 2050"/>
              <a:gd name="T12" fmla="*/ 3603 w 8720"/>
              <a:gd name="T13" fmla="*/ 1898 h 2050"/>
              <a:gd name="T14" fmla="*/ 3188 w 8720"/>
              <a:gd name="T15" fmla="*/ 1959 h 2050"/>
              <a:gd name="T16" fmla="*/ 2786 w 8720"/>
              <a:gd name="T17" fmla="*/ 1655 h 2050"/>
              <a:gd name="T18" fmla="*/ 2732 w 8720"/>
              <a:gd name="T19" fmla="*/ 1207 h 2050"/>
              <a:gd name="T20" fmla="*/ 3018 w 8720"/>
              <a:gd name="T21" fmla="*/ 786 h 2050"/>
              <a:gd name="T22" fmla="*/ 3503 w 8720"/>
              <a:gd name="T23" fmla="*/ 740 h 2050"/>
              <a:gd name="T24" fmla="*/ 3857 w 8720"/>
              <a:gd name="T25" fmla="*/ 1088 h 2050"/>
              <a:gd name="T26" fmla="*/ 4586 w 8720"/>
              <a:gd name="T27" fmla="*/ 1045 h 2050"/>
              <a:gd name="T28" fmla="*/ 4361 w 8720"/>
              <a:gd name="T29" fmla="*/ 1327 h 2050"/>
              <a:gd name="T30" fmla="*/ 4391 w 8720"/>
              <a:gd name="T31" fmla="*/ 895 h 2050"/>
              <a:gd name="T32" fmla="*/ 4703 w 8720"/>
              <a:gd name="T33" fmla="*/ 728 h 2050"/>
              <a:gd name="T34" fmla="*/ 5384 w 8720"/>
              <a:gd name="T35" fmla="*/ 1679 h 2050"/>
              <a:gd name="T36" fmla="*/ 5258 w 8720"/>
              <a:gd name="T37" fmla="*/ 1026 h 2050"/>
              <a:gd name="T38" fmla="*/ 4962 w 8720"/>
              <a:gd name="T39" fmla="*/ 1758 h 2050"/>
              <a:gd name="T40" fmla="*/ 5374 w 8720"/>
              <a:gd name="T41" fmla="*/ 1960 h 2050"/>
              <a:gd name="T42" fmla="*/ 6441 w 8720"/>
              <a:gd name="T43" fmla="*/ 1538 h 2050"/>
              <a:gd name="T44" fmla="*/ 6231 w 8720"/>
              <a:gd name="T45" fmla="*/ 1676 h 2050"/>
              <a:gd name="T46" fmla="*/ 6056 w 8720"/>
              <a:gd name="T47" fmla="*/ 1487 h 2050"/>
              <a:gd name="T48" fmla="*/ 5746 w 8720"/>
              <a:gd name="T49" fmla="*/ 1671 h 2050"/>
              <a:gd name="T50" fmla="*/ 5949 w 8720"/>
              <a:gd name="T51" fmla="*/ 1899 h 2050"/>
              <a:gd name="T52" fmla="*/ 6505 w 8720"/>
              <a:gd name="T53" fmla="*/ 1921 h 2050"/>
              <a:gd name="T54" fmla="*/ 6769 w 8720"/>
              <a:gd name="T55" fmla="*/ 1628 h 2050"/>
              <a:gd name="T56" fmla="*/ 8698 w 8720"/>
              <a:gd name="T57" fmla="*/ 985 h 2050"/>
              <a:gd name="T58" fmla="*/ 8484 w 8720"/>
              <a:gd name="T59" fmla="*/ 747 h 2050"/>
              <a:gd name="T60" fmla="*/ 8083 w 8720"/>
              <a:gd name="T61" fmla="*/ 806 h 2050"/>
              <a:gd name="T62" fmla="*/ 7885 w 8720"/>
              <a:gd name="T63" fmla="*/ 840 h 2050"/>
              <a:gd name="T64" fmla="*/ 7630 w 8720"/>
              <a:gd name="T65" fmla="*/ 721 h 2050"/>
              <a:gd name="T66" fmla="*/ 7324 w 8720"/>
              <a:gd name="T67" fmla="*/ 871 h 2050"/>
              <a:gd name="T68" fmla="*/ 7270 w 8720"/>
              <a:gd name="T69" fmla="*/ 1283 h 2050"/>
              <a:gd name="T70" fmla="*/ 7447 w 8720"/>
              <a:gd name="T71" fmla="*/ 1034 h 2050"/>
              <a:gd name="T72" fmla="*/ 7645 w 8720"/>
              <a:gd name="T73" fmla="*/ 1211 h 2050"/>
              <a:gd name="T74" fmla="*/ 8034 w 8720"/>
              <a:gd name="T75" fmla="*/ 1138 h 2050"/>
              <a:gd name="T76" fmla="*/ 8289 w 8720"/>
              <a:gd name="T77" fmla="*/ 1046 h 2050"/>
              <a:gd name="T78" fmla="*/ 8377 w 8720"/>
              <a:gd name="T79" fmla="*/ 1938 h 2050"/>
              <a:gd name="T80" fmla="*/ 2458 w 8720"/>
              <a:gd name="T81" fmla="*/ 483 h 2050"/>
              <a:gd name="T82" fmla="*/ 2107 w 8720"/>
              <a:gd name="T83" fmla="*/ 1483 h 2050"/>
              <a:gd name="T84" fmla="*/ 2152 w 8720"/>
              <a:gd name="T85" fmla="*/ 299 h 2050"/>
              <a:gd name="T86" fmla="*/ 2419 w 8720"/>
              <a:gd name="T87" fmla="*/ 83 h 2050"/>
              <a:gd name="T88" fmla="*/ 2622 w 8720"/>
              <a:gd name="T89" fmla="*/ 369 h 2050"/>
              <a:gd name="T90" fmla="*/ 1130 w 8720"/>
              <a:gd name="T91" fmla="*/ 2050 h 2050"/>
              <a:gd name="T92" fmla="*/ 570 w 8720"/>
              <a:gd name="T93" fmla="*/ 1915 h 2050"/>
              <a:gd name="T94" fmla="*/ 120 w 8720"/>
              <a:gd name="T95" fmla="*/ 1452 h 2050"/>
              <a:gd name="T96" fmla="*/ 8 w 8720"/>
              <a:gd name="T97" fmla="*/ 822 h 2050"/>
              <a:gd name="T98" fmla="*/ 222 w 8720"/>
              <a:gd name="T99" fmla="*/ 289 h 2050"/>
              <a:gd name="T100" fmla="*/ 690 w 8720"/>
              <a:gd name="T101" fmla="*/ 389 h 2050"/>
              <a:gd name="T102" fmla="*/ 424 w 8720"/>
              <a:gd name="T103" fmla="*/ 782 h 2050"/>
              <a:gd name="T104" fmla="*/ 460 w 8720"/>
              <a:gd name="T105" fmla="*/ 1242 h 2050"/>
              <a:gd name="T106" fmla="*/ 783 w 8720"/>
              <a:gd name="T107" fmla="*/ 1573 h 2050"/>
              <a:gd name="T108" fmla="*/ 1246 w 8720"/>
              <a:gd name="T109" fmla="*/ 1632 h 2050"/>
              <a:gd name="T110" fmla="*/ 745 w 8720"/>
              <a:gd name="T111" fmla="*/ 1453 h 2050"/>
              <a:gd name="T112" fmla="*/ 1347 w 8720"/>
              <a:gd name="T113" fmla="*/ 1509 h 2050"/>
              <a:gd name="T114" fmla="*/ 1693 w 8720"/>
              <a:gd name="T115" fmla="*/ 1099 h 2050"/>
              <a:gd name="T116" fmla="*/ 1523 w 8720"/>
              <a:gd name="T117" fmla="*/ 505 h 2050"/>
              <a:gd name="T118" fmla="*/ 1152 w 8720"/>
              <a:gd name="T119" fmla="*/ 342 h 2050"/>
              <a:gd name="T120" fmla="*/ 691 w 8720"/>
              <a:gd name="T121" fmla="*/ 497 h 2050"/>
              <a:gd name="T122" fmla="*/ 491 w 8720"/>
              <a:gd name="T123" fmla="*/ 1037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720" h="2050">
                <a:moveTo>
                  <a:pt x="3554" y="1338"/>
                </a:moveTo>
                <a:lnTo>
                  <a:pt x="3553" y="1299"/>
                </a:lnTo>
                <a:lnTo>
                  <a:pt x="3550" y="1263"/>
                </a:lnTo>
                <a:lnTo>
                  <a:pt x="3546" y="1228"/>
                </a:lnTo>
                <a:lnTo>
                  <a:pt x="3538" y="1196"/>
                </a:lnTo>
                <a:lnTo>
                  <a:pt x="3529" y="1165"/>
                </a:lnTo>
                <a:lnTo>
                  <a:pt x="3518" y="1137"/>
                </a:lnTo>
                <a:lnTo>
                  <a:pt x="3511" y="1124"/>
                </a:lnTo>
                <a:lnTo>
                  <a:pt x="3504" y="1112"/>
                </a:lnTo>
                <a:lnTo>
                  <a:pt x="3490" y="1088"/>
                </a:lnTo>
                <a:lnTo>
                  <a:pt x="3473" y="1068"/>
                </a:lnTo>
                <a:lnTo>
                  <a:pt x="3454" y="1049"/>
                </a:lnTo>
                <a:lnTo>
                  <a:pt x="3436" y="1034"/>
                </a:lnTo>
                <a:lnTo>
                  <a:pt x="3413" y="1022"/>
                </a:lnTo>
                <a:lnTo>
                  <a:pt x="3390" y="1012"/>
                </a:lnTo>
                <a:lnTo>
                  <a:pt x="3366" y="1004"/>
                </a:lnTo>
                <a:lnTo>
                  <a:pt x="3339" y="1000"/>
                </a:lnTo>
                <a:lnTo>
                  <a:pt x="3311" y="998"/>
                </a:lnTo>
                <a:lnTo>
                  <a:pt x="3283" y="1000"/>
                </a:lnTo>
                <a:lnTo>
                  <a:pt x="3257" y="1004"/>
                </a:lnTo>
                <a:lnTo>
                  <a:pt x="3232" y="1012"/>
                </a:lnTo>
                <a:lnTo>
                  <a:pt x="3209" y="1022"/>
                </a:lnTo>
                <a:lnTo>
                  <a:pt x="3187" y="1035"/>
                </a:lnTo>
                <a:lnTo>
                  <a:pt x="3166" y="1051"/>
                </a:lnTo>
                <a:lnTo>
                  <a:pt x="3148" y="1069"/>
                </a:lnTo>
                <a:lnTo>
                  <a:pt x="3130" y="1091"/>
                </a:lnTo>
                <a:lnTo>
                  <a:pt x="3116" y="1114"/>
                </a:lnTo>
                <a:lnTo>
                  <a:pt x="3102" y="1139"/>
                </a:lnTo>
                <a:lnTo>
                  <a:pt x="3090" y="1167"/>
                </a:lnTo>
                <a:lnTo>
                  <a:pt x="3081" y="1197"/>
                </a:lnTo>
                <a:lnTo>
                  <a:pt x="3073" y="1228"/>
                </a:lnTo>
                <a:lnTo>
                  <a:pt x="3068" y="1263"/>
                </a:lnTo>
                <a:lnTo>
                  <a:pt x="3065" y="1298"/>
                </a:lnTo>
                <a:lnTo>
                  <a:pt x="3063" y="1336"/>
                </a:lnTo>
                <a:lnTo>
                  <a:pt x="3065" y="1374"/>
                </a:lnTo>
                <a:lnTo>
                  <a:pt x="3068" y="1409"/>
                </a:lnTo>
                <a:lnTo>
                  <a:pt x="3073" y="1444"/>
                </a:lnTo>
                <a:lnTo>
                  <a:pt x="3081" y="1477"/>
                </a:lnTo>
                <a:lnTo>
                  <a:pt x="3091" y="1507"/>
                </a:lnTo>
                <a:lnTo>
                  <a:pt x="3102" y="1536"/>
                </a:lnTo>
                <a:lnTo>
                  <a:pt x="3117" y="1562"/>
                </a:lnTo>
                <a:lnTo>
                  <a:pt x="3132" y="1586"/>
                </a:lnTo>
                <a:lnTo>
                  <a:pt x="3149" y="1607"/>
                </a:lnTo>
                <a:lnTo>
                  <a:pt x="3169" y="1626"/>
                </a:lnTo>
                <a:lnTo>
                  <a:pt x="3189" y="1643"/>
                </a:lnTo>
                <a:lnTo>
                  <a:pt x="3211" y="1656"/>
                </a:lnTo>
                <a:lnTo>
                  <a:pt x="3236" y="1667"/>
                </a:lnTo>
                <a:lnTo>
                  <a:pt x="3261" y="1675"/>
                </a:lnTo>
                <a:lnTo>
                  <a:pt x="3288" y="1679"/>
                </a:lnTo>
                <a:lnTo>
                  <a:pt x="3317" y="1680"/>
                </a:lnTo>
                <a:lnTo>
                  <a:pt x="3343" y="1679"/>
                </a:lnTo>
                <a:lnTo>
                  <a:pt x="3369" y="1675"/>
                </a:lnTo>
                <a:lnTo>
                  <a:pt x="3393" y="1667"/>
                </a:lnTo>
                <a:lnTo>
                  <a:pt x="3417" y="1657"/>
                </a:lnTo>
                <a:lnTo>
                  <a:pt x="3438" y="1644"/>
                </a:lnTo>
                <a:lnTo>
                  <a:pt x="3458" y="1628"/>
                </a:lnTo>
                <a:lnTo>
                  <a:pt x="3476" y="1609"/>
                </a:lnTo>
                <a:lnTo>
                  <a:pt x="3491" y="1588"/>
                </a:lnTo>
                <a:lnTo>
                  <a:pt x="3506" y="1565"/>
                </a:lnTo>
                <a:lnTo>
                  <a:pt x="3519" y="1539"/>
                </a:lnTo>
                <a:lnTo>
                  <a:pt x="3529" y="1512"/>
                </a:lnTo>
                <a:lnTo>
                  <a:pt x="3538" y="1480"/>
                </a:lnTo>
                <a:lnTo>
                  <a:pt x="3546" y="1448"/>
                </a:lnTo>
                <a:lnTo>
                  <a:pt x="3550" y="1414"/>
                </a:lnTo>
                <a:lnTo>
                  <a:pt x="3553" y="1377"/>
                </a:lnTo>
                <a:lnTo>
                  <a:pt x="3554" y="1338"/>
                </a:lnTo>
                <a:close/>
                <a:moveTo>
                  <a:pt x="3897" y="1340"/>
                </a:moveTo>
                <a:lnTo>
                  <a:pt x="3893" y="1408"/>
                </a:lnTo>
                <a:lnTo>
                  <a:pt x="3885" y="1474"/>
                </a:lnTo>
                <a:lnTo>
                  <a:pt x="3880" y="1505"/>
                </a:lnTo>
                <a:lnTo>
                  <a:pt x="3872" y="1536"/>
                </a:lnTo>
                <a:lnTo>
                  <a:pt x="3863" y="1565"/>
                </a:lnTo>
                <a:lnTo>
                  <a:pt x="3853" y="1595"/>
                </a:lnTo>
                <a:lnTo>
                  <a:pt x="3843" y="1623"/>
                </a:lnTo>
                <a:lnTo>
                  <a:pt x="3831" y="1649"/>
                </a:lnTo>
                <a:lnTo>
                  <a:pt x="3803" y="1701"/>
                </a:lnTo>
                <a:lnTo>
                  <a:pt x="3771" y="1749"/>
                </a:lnTo>
                <a:lnTo>
                  <a:pt x="3753" y="1773"/>
                </a:lnTo>
                <a:lnTo>
                  <a:pt x="3734" y="1794"/>
                </a:lnTo>
                <a:lnTo>
                  <a:pt x="3716" y="1814"/>
                </a:lnTo>
                <a:lnTo>
                  <a:pt x="3694" y="1834"/>
                </a:lnTo>
                <a:lnTo>
                  <a:pt x="3650" y="1868"/>
                </a:lnTo>
                <a:lnTo>
                  <a:pt x="3627" y="1884"/>
                </a:lnTo>
                <a:lnTo>
                  <a:pt x="3603" y="1898"/>
                </a:lnTo>
                <a:lnTo>
                  <a:pt x="3552" y="1924"/>
                </a:lnTo>
                <a:lnTo>
                  <a:pt x="3526" y="1935"/>
                </a:lnTo>
                <a:lnTo>
                  <a:pt x="3498" y="1944"/>
                </a:lnTo>
                <a:lnTo>
                  <a:pt x="3470" y="1951"/>
                </a:lnTo>
                <a:lnTo>
                  <a:pt x="3441" y="1958"/>
                </a:lnTo>
                <a:lnTo>
                  <a:pt x="3411" y="1964"/>
                </a:lnTo>
                <a:lnTo>
                  <a:pt x="3381" y="1967"/>
                </a:lnTo>
                <a:lnTo>
                  <a:pt x="3319" y="1970"/>
                </a:lnTo>
                <a:lnTo>
                  <a:pt x="3285" y="1969"/>
                </a:lnTo>
                <a:lnTo>
                  <a:pt x="3252" y="1967"/>
                </a:lnTo>
                <a:lnTo>
                  <a:pt x="3220" y="1964"/>
                </a:lnTo>
                <a:lnTo>
                  <a:pt x="3188" y="1959"/>
                </a:lnTo>
                <a:lnTo>
                  <a:pt x="3158" y="1953"/>
                </a:lnTo>
                <a:lnTo>
                  <a:pt x="3128" y="1945"/>
                </a:lnTo>
                <a:lnTo>
                  <a:pt x="3071" y="1926"/>
                </a:lnTo>
                <a:lnTo>
                  <a:pt x="3018" y="1901"/>
                </a:lnTo>
                <a:lnTo>
                  <a:pt x="2993" y="1887"/>
                </a:lnTo>
                <a:lnTo>
                  <a:pt x="2969" y="1871"/>
                </a:lnTo>
                <a:lnTo>
                  <a:pt x="2924" y="1837"/>
                </a:lnTo>
                <a:lnTo>
                  <a:pt x="2882" y="1798"/>
                </a:lnTo>
                <a:lnTo>
                  <a:pt x="2864" y="1777"/>
                </a:lnTo>
                <a:lnTo>
                  <a:pt x="2846" y="1755"/>
                </a:lnTo>
                <a:lnTo>
                  <a:pt x="2814" y="1707"/>
                </a:lnTo>
                <a:lnTo>
                  <a:pt x="2786" y="1655"/>
                </a:lnTo>
                <a:lnTo>
                  <a:pt x="2775" y="1627"/>
                </a:lnTo>
                <a:lnTo>
                  <a:pt x="2764" y="1598"/>
                </a:lnTo>
                <a:lnTo>
                  <a:pt x="2754" y="1569"/>
                </a:lnTo>
                <a:lnTo>
                  <a:pt x="2746" y="1538"/>
                </a:lnTo>
                <a:lnTo>
                  <a:pt x="2738" y="1507"/>
                </a:lnTo>
                <a:lnTo>
                  <a:pt x="2732" y="1474"/>
                </a:lnTo>
                <a:lnTo>
                  <a:pt x="2728" y="1440"/>
                </a:lnTo>
                <a:lnTo>
                  <a:pt x="2725" y="1407"/>
                </a:lnTo>
                <a:lnTo>
                  <a:pt x="2722" y="1372"/>
                </a:lnTo>
                <a:lnTo>
                  <a:pt x="2721" y="1336"/>
                </a:lnTo>
                <a:lnTo>
                  <a:pt x="2725" y="1271"/>
                </a:lnTo>
                <a:lnTo>
                  <a:pt x="2732" y="1207"/>
                </a:lnTo>
                <a:lnTo>
                  <a:pt x="2738" y="1177"/>
                </a:lnTo>
                <a:lnTo>
                  <a:pt x="2746" y="1147"/>
                </a:lnTo>
                <a:lnTo>
                  <a:pt x="2764" y="1089"/>
                </a:lnTo>
                <a:lnTo>
                  <a:pt x="2775" y="1062"/>
                </a:lnTo>
                <a:lnTo>
                  <a:pt x="2787" y="1035"/>
                </a:lnTo>
                <a:lnTo>
                  <a:pt x="2815" y="983"/>
                </a:lnTo>
                <a:lnTo>
                  <a:pt x="2847" y="936"/>
                </a:lnTo>
                <a:lnTo>
                  <a:pt x="2865" y="913"/>
                </a:lnTo>
                <a:lnTo>
                  <a:pt x="2884" y="892"/>
                </a:lnTo>
                <a:lnTo>
                  <a:pt x="2925" y="852"/>
                </a:lnTo>
                <a:lnTo>
                  <a:pt x="2969" y="817"/>
                </a:lnTo>
                <a:lnTo>
                  <a:pt x="3018" y="786"/>
                </a:lnTo>
                <a:lnTo>
                  <a:pt x="3070" y="761"/>
                </a:lnTo>
                <a:lnTo>
                  <a:pt x="3098" y="750"/>
                </a:lnTo>
                <a:lnTo>
                  <a:pt x="3126" y="741"/>
                </a:lnTo>
                <a:lnTo>
                  <a:pt x="3155" y="732"/>
                </a:lnTo>
                <a:lnTo>
                  <a:pt x="3185" y="725"/>
                </a:lnTo>
                <a:lnTo>
                  <a:pt x="3216" y="721"/>
                </a:lnTo>
                <a:lnTo>
                  <a:pt x="3247" y="716"/>
                </a:lnTo>
                <a:lnTo>
                  <a:pt x="3311" y="713"/>
                </a:lnTo>
                <a:lnTo>
                  <a:pt x="3379" y="716"/>
                </a:lnTo>
                <a:lnTo>
                  <a:pt x="3411" y="720"/>
                </a:lnTo>
                <a:lnTo>
                  <a:pt x="3443" y="725"/>
                </a:lnTo>
                <a:lnTo>
                  <a:pt x="3503" y="740"/>
                </a:lnTo>
                <a:lnTo>
                  <a:pt x="3559" y="760"/>
                </a:lnTo>
                <a:lnTo>
                  <a:pt x="3586" y="772"/>
                </a:lnTo>
                <a:lnTo>
                  <a:pt x="3611" y="785"/>
                </a:lnTo>
                <a:lnTo>
                  <a:pt x="3636" y="800"/>
                </a:lnTo>
                <a:lnTo>
                  <a:pt x="3660" y="815"/>
                </a:lnTo>
                <a:lnTo>
                  <a:pt x="3703" y="851"/>
                </a:lnTo>
                <a:lnTo>
                  <a:pt x="3723" y="870"/>
                </a:lnTo>
                <a:lnTo>
                  <a:pt x="3743" y="890"/>
                </a:lnTo>
                <a:lnTo>
                  <a:pt x="3778" y="934"/>
                </a:lnTo>
                <a:lnTo>
                  <a:pt x="3809" y="982"/>
                </a:lnTo>
                <a:lnTo>
                  <a:pt x="3835" y="1033"/>
                </a:lnTo>
                <a:lnTo>
                  <a:pt x="3857" y="1088"/>
                </a:lnTo>
                <a:lnTo>
                  <a:pt x="3867" y="1117"/>
                </a:lnTo>
                <a:lnTo>
                  <a:pt x="3874" y="1147"/>
                </a:lnTo>
                <a:lnTo>
                  <a:pt x="3887" y="1208"/>
                </a:lnTo>
                <a:lnTo>
                  <a:pt x="3894" y="1273"/>
                </a:lnTo>
                <a:lnTo>
                  <a:pt x="3897" y="1340"/>
                </a:lnTo>
                <a:close/>
                <a:moveTo>
                  <a:pt x="4810" y="1073"/>
                </a:moveTo>
                <a:lnTo>
                  <a:pt x="4769" y="1056"/>
                </a:lnTo>
                <a:lnTo>
                  <a:pt x="4732" y="1045"/>
                </a:lnTo>
                <a:lnTo>
                  <a:pt x="4694" y="1039"/>
                </a:lnTo>
                <a:lnTo>
                  <a:pt x="4653" y="1038"/>
                </a:lnTo>
                <a:lnTo>
                  <a:pt x="4619" y="1039"/>
                </a:lnTo>
                <a:lnTo>
                  <a:pt x="4586" y="1045"/>
                </a:lnTo>
                <a:lnTo>
                  <a:pt x="4555" y="1053"/>
                </a:lnTo>
                <a:lnTo>
                  <a:pt x="4526" y="1064"/>
                </a:lnTo>
                <a:lnTo>
                  <a:pt x="4501" y="1078"/>
                </a:lnTo>
                <a:lnTo>
                  <a:pt x="4476" y="1095"/>
                </a:lnTo>
                <a:lnTo>
                  <a:pt x="4453" y="1115"/>
                </a:lnTo>
                <a:lnTo>
                  <a:pt x="4433" y="1137"/>
                </a:lnTo>
                <a:lnTo>
                  <a:pt x="4415" y="1163"/>
                </a:lnTo>
                <a:lnTo>
                  <a:pt x="4400" y="1191"/>
                </a:lnTo>
                <a:lnTo>
                  <a:pt x="4386" y="1222"/>
                </a:lnTo>
                <a:lnTo>
                  <a:pt x="4375" y="1254"/>
                </a:lnTo>
                <a:lnTo>
                  <a:pt x="4366" y="1289"/>
                </a:lnTo>
                <a:lnTo>
                  <a:pt x="4361" y="1327"/>
                </a:lnTo>
                <a:lnTo>
                  <a:pt x="4356" y="1367"/>
                </a:lnTo>
                <a:lnTo>
                  <a:pt x="4355" y="1408"/>
                </a:lnTo>
                <a:lnTo>
                  <a:pt x="4355" y="1938"/>
                </a:lnTo>
                <a:lnTo>
                  <a:pt x="4017" y="1938"/>
                </a:lnTo>
                <a:lnTo>
                  <a:pt x="4017" y="1342"/>
                </a:lnTo>
                <a:lnTo>
                  <a:pt x="4017" y="746"/>
                </a:lnTo>
                <a:lnTo>
                  <a:pt x="4343" y="746"/>
                </a:lnTo>
                <a:lnTo>
                  <a:pt x="4343" y="1017"/>
                </a:lnTo>
                <a:lnTo>
                  <a:pt x="4352" y="984"/>
                </a:lnTo>
                <a:lnTo>
                  <a:pt x="4363" y="953"/>
                </a:lnTo>
                <a:lnTo>
                  <a:pt x="4375" y="923"/>
                </a:lnTo>
                <a:lnTo>
                  <a:pt x="4391" y="895"/>
                </a:lnTo>
                <a:lnTo>
                  <a:pt x="4408" y="870"/>
                </a:lnTo>
                <a:lnTo>
                  <a:pt x="4425" y="846"/>
                </a:lnTo>
                <a:lnTo>
                  <a:pt x="4446" y="824"/>
                </a:lnTo>
                <a:lnTo>
                  <a:pt x="4468" y="805"/>
                </a:lnTo>
                <a:lnTo>
                  <a:pt x="4492" y="787"/>
                </a:lnTo>
                <a:lnTo>
                  <a:pt x="4517" y="772"/>
                </a:lnTo>
                <a:lnTo>
                  <a:pt x="4544" y="758"/>
                </a:lnTo>
                <a:lnTo>
                  <a:pt x="4573" y="748"/>
                </a:lnTo>
                <a:lnTo>
                  <a:pt x="4603" y="740"/>
                </a:lnTo>
                <a:lnTo>
                  <a:pt x="4635" y="734"/>
                </a:lnTo>
                <a:lnTo>
                  <a:pt x="4669" y="730"/>
                </a:lnTo>
                <a:lnTo>
                  <a:pt x="4703" y="728"/>
                </a:lnTo>
                <a:lnTo>
                  <a:pt x="4753" y="732"/>
                </a:lnTo>
                <a:lnTo>
                  <a:pt x="4810" y="741"/>
                </a:lnTo>
                <a:lnTo>
                  <a:pt x="4810" y="1073"/>
                </a:lnTo>
                <a:close/>
                <a:moveTo>
                  <a:pt x="5598" y="1938"/>
                </a:moveTo>
                <a:lnTo>
                  <a:pt x="5598" y="1670"/>
                </a:lnTo>
                <a:lnTo>
                  <a:pt x="5561" y="1678"/>
                </a:lnTo>
                <a:lnTo>
                  <a:pt x="5526" y="1683"/>
                </a:lnTo>
                <a:lnTo>
                  <a:pt x="5494" y="1685"/>
                </a:lnTo>
                <a:lnTo>
                  <a:pt x="5458" y="1686"/>
                </a:lnTo>
                <a:lnTo>
                  <a:pt x="5432" y="1685"/>
                </a:lnTo>
                <a:lnTo>
                  <a:pt x="5406" y="1683"/>
                </a:lnTo>
                <a:lnTo>
                  <a:pt x="5384" y="1679"/>
                </a:lnTo>
                <a:lnTo>
                  <a:pt x="5364" y="1674"/>
                </a:lnTo>
                <a:lnTo>
                  <a:pt x="5345" y="1667"/>
                </a:lnTo>
                <a:lnTo>
                  <a:pt x="5328" y="1658"/>
                </a:lnTo>
                <a:lnTo>
                  <a:pt x="5314" y="1648"/>
                </a:lnTo>
                <a:lnTo>
                  <a:pt x="5302" y="1636"/>
                </a:lnTo>
                <a:lnTo>
                  <a:pt x="5292" y="1622"/>
                </a:lnTo>
                <a:lnTo>
                  <a:pt x="5282" y="1605"/>
                </a:lnTo>
                <a:lnTo>
                  <a:pt x="5275" y="1587"/>
                </a:lnTo>
                <a:lnTo>
                  <a:pt x="5268" y="1566"/>
                </a:lnTo>
                <a:lnTo>
                  <a:pt x="5262" y="1517"/>
                </a:lnTo>
                <a:lnTo>
                  <a:pt x="5258" y="1459"/>
                </a:lnTo>
                <a:lnTo>
                  <a:pt x="5258" y="1026"/>
                </a:lnTo>
                <a:lnTo>
                  <a:pt x="5583" y="1026"/>
                </a:lnTo>
                <a:lnTo>
                  <a:pt x="5583" y="755"/>
                </a:lnTo>
                <a:lnTo>
                  <a:pt x="5258" y="755"/>
                </a:lnTo>
                <a:lnTo>
                  <a:pt x="5258" y="365"/>
                </a:lnTo>
                <a:lnTo>
                  <a:pt x="4920" y="556"/>
                </a:lnTo>
                <a:lnTo>
                  <a:pt x="4920" y="1037"/>
                </a:lnTo>
                <a:lnTo>
                  <a:pt x="4920" y="1519"/>
                </a:lnTo>
                <a:lnTo>
                  <a:pt x="4921" y="1575"/>
                </a:lnTo>
                <a:lnTo>
                  <a:pt x="4926" y="1627"/>
                </a:lnTo>
                <a:lnTo>
                  <a:pt x="4935" y="1674"/>
                </a:lnTo>
                <a:lnTo>
                  <a:pt x="4946" y="1718"/>
                </a:lnTo>
                <a:lnTo>
                  <a:pt x="4962" y="1758"/>
                </a:lnTo>
                <a:lnTo>
                  <a:pt x="4981" y="1794"/>
                </a:lnTo>
                <a:lnTo>
                  <a:pt x="5003" y="1826"/>
                </a:lnTo>
                <a:lnTo>
                  <a:pt x="5030" y="1855"/>
                </a:lnTo>
                <a:lnTo>
                  <a:pt x="5044" y="1868"/>
                </a:lnTo>
                <a:lnTo>
                  <a:pt x="5060" y="1880"/>
                </a:lnTo>
                <a:lnTo>
                  <a:pt x="5093" y="1901"/>
                </a:lnTo>
                <a:lnTo>
                  <a:pt x="5130" y="1920"/>
                </a:lnTo>
                <a:lnTo>
                  <a:pt x="5171" y="1935"/>
                </a:lnTo>
                <a:lnTo>
                  <a:pt x="5216" y="1946"/>
                </a:lnTo>
                <a:lnTo>
                  <a:pt x="5265" y="1954"/>
                </a:lnTo>
                <a:lnTo>
                  <a:pt x="5317" y="1959"/>
                </a:lnTo>
                <a:lnTo>
                  <a:pt x="5374" y="1960"/>
                </a:lnTo>
                <a:lnTo>
                  <a:pt x="5431" y="1959"/>
                </a:lnTo>
                <a:lnTo>
                  <a:pt x="5484" y="1956"/>
                </a:lnTo>
                <a:lnTo>
                  <a:pt x="5538" y="1949"/>
                </a:lnTo>
                <a:lnTo>
                  <a:pt x="5598" y="1938"/>
                </a:lnTo>
                <a:close/>
                <a:moveTo>
                  <a:pt x="6796" y="1358"/>
                </a:moveTo>
                <a:lnTo>
                  <a:pt x="6796" y="746"/>
                </a:lnTo>
                <a:lnTo>
                  <a:pt x="6457" y="746"/>
                </a:lnTo>
                <a:lnTo>
                  <a:pt x="6457" y="1358"/>
                </a:lnTo>
                <a:lnTo>
                  <a:pt x="6455" y="1440"/>
                </a:lnTo>
                <a:lnTo>
                  <a:pt x="6451" y="1476"/>
                </a:lnTo>
                <a:lnTo>
                  <a:pt x="6447" y="1508"/>
                </a:lnTo>
                <a:lnTo>
                  <a:pt x="6441" y="1538"/>
                </a:lnTo>
                <a:lnTo>
                  <a:pt x="6435" y="1564"/>
                </a:lnTo>
                <a:lnTo>
                  <a:pt x="6426" y="1587"/>
                </a:lnTo>
                <a:lnTo>
                  <a:pt x="6415" y="1607"/>
                </a:lnTo>
                <a:lnTo>
                  <a:pt x="6402" y="1624"/>
                </a:lnTo>
                <a:lnTo>
                  <a:pt x="6388" y="1639"/>
                </a:lnTo>
                <a:lnTo>
                  <a:pt x="6373" y="1650"/>
                </a:lnTo>
                <a:lnTo>
                  <a:pt x="6355" y="1660"/>
                </a:lnTo>
                <a:lnTo>
                  <a:pt x="6334" y="1668"/>
                </a:lnTo>
                <a:lnTo>
                  <a:pt x="6311" y="1673"/>
                </a:lnTo>
                <a:lnTo>
                  <a:pt x="6287" y="1676"/>
                </a:lnTo>
                <a:lnTo>
                  <a:pt x="6259" y="1677"/>
                </a:lnTo>
                <a:lnTo>
                  <a:pt x="6231" y="1676"/>
                </a:lnTo>
                <a:lnTo>
                  <a:pt x="6206" y="1673"/>
                </a:lnTo>
                <a:lnTo>
                  <a:pt x="6181" y="1668"/>
                </a:lnTo>
                <a:lnTo>
                  <a:pt x="6160" y="1660"/>
                </a:lnTo>
                <a:lnTo>
                  <a:pt x="6141" y="1652"/>
                </a:lnTo>
                <a:lnTo>
                  <a:pt x="6124" y="1640"/>
                </a:lnTo>
                <a:lnTo>
                  <a:pt x="6109" y="1626"/>
                </a:lnTo>
                <a:lnTo>
                  <a:pt x="6096" y="1609"/>
                </a:lnTo>
                <a:lnTo>
                  <a:pt x="6085" y="1590"/>
                </a:lnTo>
                <a:lnTo>
                  <a:pt x="6075" y="1569"/>
                </a:lnTo>
                <a:lnTo>
                  <a:pt x="6067" y="1545"/>
                </a:lnTo>
                <a:lnTo>
                  <a:pt x="6060" y="1517"/>
                </a:lnTo>
                <a:lnTo>
                  <a:pt x="6056" y="1487"/>
                </a:lnTo>
                <a:lnTo>
                  <a:pt x="6053" y="1454"/>
                </a:lnTo>
                <a:lnTo>
                  <a:pt x="6050" y="1417"/>
                </a:lnTo>
                <a:lnTo>
                  <a:pt x="6049" y="1378"/>
                </a:lnTo>
                <a:lnTo>
                  <a:pt x="6049" y="746"/>
                </a:lnTo>
                <a:lnTo>
                  <a:pt x="5710" y="746"/>
                </a:lnTo>
                <a:lnTo>
                  <a:pt x="5710" y="1373"/>
                </a:lnTo>
                <a:lnTo>
                  <a:pt x="5713" y="1465"/>
                </a:lnTo>
                <a:lnTo>
                  <a:pt x="5715" y="1505"/>
                </a:lnTo>
                <a:lnTo>
                  <a:pt x="5718" y="1544"/>
                </a:lnTo>
                <a:lnTo>
                  <a:pt x="5729" y="1612"/>
                </a:lnTo>
                <a:lnTo>
                  <a:pt x="5737" y="1643"/>
                </a:lnTo>
                <a:lnTo>
                  <a:pt x="5746" y="1671"/>
                </a:lnTo>
                <a:lnTo>
                  <a:pt x="5756" y="1698"/>
                </a:lnTo>
                <a:lnTo>
                  <a:pt x="5768" y="1723"/>
                </a:lnTo>
                <a:lnTo>
                  <a:pt x="5780" y="1747"/>
                </a:lnTo>
                <a:lnTo>
                  <a:pt x="5796" y="1769"/>
                </a:lnTo>
                <a:lnTo>
                  <a:pt x="5812" y="1790"/>
                </a:lnTo>
                <a:lnTo>
                  <a:pt x="5830" y="1810"/>
                </a:lnTo>
                <a:lnTo>
                  <a:pt x="5849" y="1829"/>
                </a:lnTo>
                <a:lnTo>
                  <a:pt x="5872" y="1848"/>
                </a:lnTo>
                <a:lnTo>
                  <a:pt x="5889" y="1863"/>
                </a:lnTo>
                <a:lnTo>
                  <a:pt x="5908" y="1876"/>
                </a:lnTo>
                <a:lnTo>
                  <a:pt x="5928" y="1888"/>
                </a:lnTo>
                <a:lnTo>
                  <a:pt x="5949" y="1899"/>
                </a:lnTo>
                <a:lnTo>
                  <a:pt x="5972" y="1909"/>
                </a:lnTo>
                <a:lnTo>
                  <a:pt x="5994" y="1919"/>
                </a:lnTo>
                <a:lnTo>
                  <a:pt x="6040" y="1936"/>
                </a:lnTo>
                <a:lnTo>
                  <a:pt x="6091" y="1949"/>
                </a:lnTo>
                <a:lnTo>
                  <a:pt x="6144" y="1958"/>
                </a:lnTo>
                <a:lnTo>
                  <a:pt x="6199" y="1964"/>
                </a:lnTo>
                <a:lnTo>
                  <a:pt x="6257" y="1966"/>
                </a:lnTo>
                <a:lnTo>
                  <a:pt x="6325" y="1963"/>
                </a:lnTo>
                <a:lnTo>
                  <a:pt x="6388" y="1955"/>
                </a:lnTo>
                <a:lnTo>
                  <a:pt x="6419" y="1948"/>
                </a:lnTo>
                <a:lnTo>
                  <a:pt x="6448" y="1940"/>
                </a:lnTo>
                <a:lnTo>
                  <a:pt x="6505" y="1921"/>
                </a:lnTo>
                <a:lnTo>
                  <a:pt x="6531" y="1910"/>
                </a:lnTo>
                <a:lnTo>
                  <a:pt x="6557" y="1898"/>
                </a:lnTo>
                <a:lnTo>
                  <a:pt x="6605" y="1869"/>
                </a:lnTo>
                <a:lnTo>
                  <a:pt x="6626" y="1853"/>
                </a:lnTo>
                <a:lnTo>
                  <a:pt x="6647" y="1835"/>
                </a:lnTo>
                <a:lnTo>
                  <a:pt x="6667" y="1816"/>
                </a:lnTo>
                <a:lnTo>
                  <a:pt x="6685" y="1796"/>
                </a:lnTo>
                <a:lnTo>
                  <a:pt x="6699" y="1779"/>
                </a:lnTo>
                <a:lnTo>
                  <a:pt x="6712" y="1760"/>
                </a:lnTo>
                <a:lnTo>
                  <a:pt x="6735" y="1721"/>
                </a:lnTo>
                <a:lnTo>
                  <a:pt x="6755" y="1678"/>
                </a:lnTo>
                <a:lnTo>
                  <a:pt x="6769" y="1628"/>
                </a:lnTo>
                <a:lnTo>
                  <a:pt x="6781" y="1573"/>
                </a:lnTo>
                <a:lnTo>
                  <a:pt x="6786" y="1542"/>
                </a:lnTo>
                <a:lnTo>
                  <a:pt x="6790" y="1509"/>
                </a:lnTo>
                <a:lnTo>
                  <a:pt x="6795" y="1438"/>
                </a:lnTo>
                <a:lnTo>
                  <a:pt x="6796" y="1358"/>
                </a:lnTo>
                <a:close/>
                <a:moveTo>
                  <a:pt x="8720" y="1938"/>
                </a:moveTo>
                <a:lnTo>
                  <a:pt x="8720" y="1254"/>
                </a:lnTo>
                <a:lnTo>
                  <a:pt x="8718" y="1185"/>
                </a:lnTo>
                <a:lnTo>
                  <a:pt x="8716" y="1124"/>
                </a:lnTo>
                <a:lnTo>
                  <a:pt x="8712" y="1072"/>
                </a:lnTo>
                <a:lnTo>
                  <a:pt x="8706" y="1025"/>
                </a:lnTo>
                <a:lnTo>
                  <a:pt x="8698" y="985"/>
                </a:lnTo>
                <a:lnTo>
                  <a:pt x="8688" y="950"/>
                </a:lnTo>
                <a:lnTo>
                  <a:pt x="8676" y="918"/>
                </a:lnTo>
                <a:lnTo>
                  <a:pt x="8662" y="891"/>
                </a:lnTo>
                <a:lnTo>
                  <a:pt x="8650" y="871"/>
                </a:lnTo>
                <a:lnTo>
                  <a:pt x="8636" y="853"/>
                </a:lnTo>
                <a:lnTo>
                  <a:pt x="8622" y="836"/>
                </a:lnTo>
                <a:lnTo>
                  <a:pt x="8605" y="820"/>
                </a:lnTo>
                <a:lnTo>
                  <a:pt x="8589" y="805"/>
                </a:lnTo>
                <a:lnTo>
                  <a:pt x="8570" y="791"/>
                </a:lnTo>
                <a:lnTo>
                  <a:pt x="8529" y="766"/>
                </a:lnTo>
                <a:lnTo>
                  <a:pt x="8506" y="756"/>
                </a:lnTo>
                <a:lnTo>
                  <a:pt x="8484" y="747"/>
                </a:lnTo>
                <a:lnTo>
                  <a:pt x="8436" y="733"/>
                </a:lnTo>
                <a:lnTo>
                  <a:pt x="8385" y="724"/>
                </a:lnTo>
                <a:lnTo>
                  <a:pt x="8332" y="721"/>
                </a:lnTo>
                <a:lnTo>
                  <a:pt x="8300" y="722"/>
                </a:lnTo>
                <a:lnTo>
                  <a:pt x="8269" y="725"/>
                </a:lnTo>
                <a:lnTo>
                  <a:pt x="8239" y="731"/>
                </a:lnTo>
                <a:lnTo>
                  <a:pt x="8210" y="737"/>
                </a:lnTo>
                <a:lnTo>
                  <a:pt x="8182" y="747"/>
                </a:lnTo>
                <a:lnTo>
                  <a:pt x="8155" y="758"/>
                </a:lnTo>
                <a:lnTo>
                  <a:pt x="8130" y="772"/>
                </a:lnTo>
                <a:lnTo>
                  <a:pt x="8106" y="788"/>
                </a:lnTo>
                <a:lnTo>
                  <a:pt x="8083" y="806"/>
                </a:lnTo>
                <a:lnTo>
                  <a:pt x="8061" y="827"/>
                </a:lnTo>
                <a:lnTo>
                  <a:pt x="8040" y="850"/>
                </a:lnTo>
                <a:lnTo>
                  <a:pt x="8021" y="874"/>
                </a:lnTo>
                <a:lnTo>
                  <a:pt x="8002" y="902"/>
                </a:lnTo>
                <a:lnTo>
                  <a:pt x="7984" y="931"/>
                </a:lnTo>
                <a:lnTo>
                  <a:pt x="7968" y="963"/>
                </a:lnTo>
                <a:lnTo>
                  <a:pt x="7951" y="997"/>
                </a:lnTo>
                <a:lnTo>
                  <a:pt x="7942" y="964"/>
                </a:lnTo>
                <a:lnTo>
                  <a:pt x="7932" y="933"/>
                </a:lnTo>
                <a:lnTo>
                  <a:pt x="7908" y="876"/>
                </a:lnTo>
                <a:lnTo>
                  <a:pt x="7893" y="852"/>
                </a:lnTo>
                <a:lnTo>
                  <a:pt x="7885" y="840"/>
                </a:lnTo>
                <a:lnTo>
                  <a:pt x="7877" y="828"/>
                </a:lnTo>
                <a:lnTo>
                  <a:pt x="7869" y="818"/>
                </a:lnTo>
                <a:lnTo>
                  <a:pt x="7859" y="808"/>
                </a:lnTo>
                <a:lnTo>
                  <a:pt x="7840" y="791"/>
                </a:lnTo>
                <a:lnTo>
                  <a:pt x="7820" y="774"/>
                </a:lnTo>
                <a:lnTo>
                  <a:pt x="7798" y="760"/>
                </a:lnTo>
                <a:lnTo>
                  <a:pt x="7773" y="748"/>
                </a:lnTo>
                <a:lnTo>
                  <a:pt x="7748" y="738"/>
                </a:lnTo>
                <a:lnTo>
                  <a:pt x="7721" y="731"/>
                </a:lnTo>
                <a:lnTo>
                  <a:pt x="7692" y="725"/>
                </a:lnTo>
                <a:lnTo>
                  <a:pt x="7662" y="722"/>
                </a:lnTo>
                <a:lnTo>
                  <a:pt x="7630" y="721"/>
                </a:lnTo>
                <a:lnTo>
                  <a:pt x="7598" y="722"/>
                </a:lnTo>
                <a:lnTo>
                  <a:pt x="7567" y="725"/>
                </a:lnTo>
                <a:lnTo>
                  <a:pt x="7537" y="730"/>
                </a:lnTo>
                <a:lnTo>
                  <a:pt x="7509" y="737"/>
                </a:lnTo>
                <a:lnTo>
                  <a:pt x="7481" y="746"/>
                </a:lnTo>
                <a:lnTo>
                  <a:pt x="7456" y="757"/>
                </a:lnTo>
                <a:lnTo>
                  <a:pt x="7431" y="771"/>
                </a:lnTo>
                <a:lnTo>
                  <a:pt x="7408" y="786"/>
                </a:lnTo>
                <a:lnTo>
                  <a:pt x="7386" y="804"/>
                </a:lnTo>
                <a:lnTo>
                  <a:pt x="7364" y="824"/>
                </a:lnTo>
                <a:lnTo>
                  <a:pt x="7344" y="846"/>
                </a:lnTo>
                <a:lnTo>
                  <a:pt x="7324" y="871"/>
                </a:lnTo>
                <a:lnTo>
                  <a:pt x="7307" y="896"/>
                </a:lnTo>
                <a:lnTo>
                  <a:pt x="7288" y="925"/>
                </a:lnTo>
                <a:lnTo>
                  <a:pt x="7270" y="956"/>
                </a:lnTo>
                <a:lnTo>
                  <a:pt x="7253" y="990"/>
                </a:lnTo>
                <a:lnTo>
                  <a:pt x="7253" y="746"/>
                </a:lnTo>
                <a:lnTo>
                  <a:pt x="6927" y="746"/>
                </a:lnTo>
                <a:lnTo>
                  <a:pt x="6927" y="1342"/>
                </a:lnTo>
                <a:lnTo>
                  <a:pt x="6927" y="1938"/>
                </a:lnTo>
                <a:lnTo>
                  <a:pt x="7266" y="1938"/>
                </a:lnTo>
                <a:lnTo>
                  <a:pt x="7266" y="1384"/>
                </a:lnTo>
                <a:lnTo>
                  <a:pt x="7267" y="1329"/>
                </a:lnTo>
                <a:lnTo>
                  <a:pt x="7270" y="1283"/>
                </a:lnTo>
                <a:lnTo>
                  <a:pt x="7276" y="1242"/>
                </a:lnTo>
                <a:lnTo>
                  <a:pt x="7283" y="1207"/>
                </a:lnTo>
                <a:lnTo>
                  <a:pt x="7290" y="1187"/>
                </a:lnTo>
                <a:lnTo>
                  <a:pt x="7297" y="1169"/>
                </a:lnTo>
                <a:lnTo>
                  <a:pt x="7314" y="1135"/>
                </a:lnTo>
                <a:lnTo>
                  <a:pt x="7323" y="1118"/>
                </a:lnTo>
                <a:lnTo>
                  <a:pt x="7334" y="1104"/>
                </a:lnTo>
                <a:lnTo>
                  <a:pt x="7359" y="1078"/>
                </a:lnTo>
                <a:lnTo>
                  <a:pt x="7386" y="1058"/>
                </a:lnTo>
                <a:lnTo>
                  <a:pt x="7416" y="1043"/>
                </a:lnTo>
                <a:lnTo>
                  <a:pt x="7431" y="1037"/>
                </a:lnTo>
                <a:lnTo>
                  <a:pt x="7447" y="1034"/>
                </a:lnTo>
                <a:lnTo>
                  <a:pt x="7481" y="1031"/>
                </a:lnTo>
                <a:lnTo>
                  <a:pt x="7506" y="1032"/>
                </a:lnTo>
                <a:lnTo>
                  <a:pt x="7530" y="1037"/>
                </a:lnTo>
                <a:lnTo>
                  <a:pt x="7551" y="1045"/>
                </a:lnTo>
                <a:lnTo>
                  <a:pt x="7570" y="1056"/>
                </a:lnTo>
                <a:lnTo>
                  <a:pt x="7588" y="1069"/>
                </a:lnTo>
                <a:lnTo>
                  <a:pt x="7602" y="1086"/>
                </a:lnTo>
                <a:lnTo>
                  <a:pt x="7615" y="1106"/>
                </a:lnTo>
                <a:lnTo>
                  <a:pt x="7621" y="1116"/>
                </a:lnTo>
                <a:lnTo>
                  <a:pt x="7625" y="1127"/>
                </a:lnTo>
                <a:lnTo>
                  <a:pt x="7638" y="1165"/>
                </a:lnTo>
                <a:lnTo>
                  <a:pt x="7645" y="1211"/>
                </a:lnTo>
                <a:lnTo>
                  <a:pt x="7650" y="1268"/>
                </a:lnTo>
                <a:lnTo>
                  <a:pt x="7651" y="1342"/>
                </a:lnTo>
                <a:lnTo>
                  <a:pt x="7651" y="1938"/>
                </a:lnTo>
                <a:lnTo>
                  <a:pt x="7993" y="1938"/>
                </a:lnTo>
                <a:lnTo>
                  <a:pt x="7993" y="1364"/>
                </a:lnTo>
                <a:lnTo>
                  <a:pt x="7993" y="1325"/>
                </a:lnTo>
                <a:lnTo>
                  <a:pt x="7996" y="1287"/>
                </a:lnTo>
                <a:lnTo>
                  <a:pt x="8000" y="1253"/>
                </a:lnTo>
                <a:lnTo>
                  <a:pt x="8006" y="1221"/>
                </a:lnTo>
                <a:lnTo>
                  <a:pt x="8014" y="1191"/>
                </a:lnTo>
                <a:lnTo>
                  <a:pt x="8023" y="1164"/>
                </a:lnTo>
                <a:lnTo>
                  <a:pt x="8034" y="1138"/>
                </a:lnTo>
                <a:lnTo>
                  <a:pt x="8046" y="1116"/>
                </a:lnTo>
                <a:lnTo>
                  <a:pt x="8061" y="1096"/>
                </a:lnTo>
                <a:lnTo>
                  <a:pt x="8078" y="1079"/>
                </a:lnTo>
                <a:lnTo>
                  <a:pt x="8095" y="1064"/>
                </a:lnTo>
                <a:lnTo>
                  <a:pt x="8114" y="1052"/>
                </a:lnTo>
                <a:lnTo>
                  <a:pt x="8135" y="1043"/>
                </a:lnTo>
                <a:lnTo>
                  <a:pt x="8158" y="1036"/>
                </a:lnTo>
                <a:lnTo>
                  <a:pt x="8182" y="1032"/>
                </a:lnTo>
                <a:lnTo>
                  <a:pt x="8208" y="1031"/>
                </a:lnTo>
                <a:lnTo>
                  <a:pt x="8238" y="1032"/>
                </a:lnTo>
                <a:lnTo>
                  <a:pt x="8264" y="1037"/>
                </a:lnTo>
                <a:lnTo>
                  <a:pt x="8289" y="1046"/>
                </a:lnTo>
                <a:lnTo>
                  <a:pt x="8310" y="1058"/>
                </a:lnTo>
                <a:lnTo>
                  <a:pt x="8320" y="1066"/>
                </a:lnTo>
                <a:lnTo>
                  <a:pt x="8329" y="1075"/>
                </a:lnTo>
                <a:lnTo>
                  <a:pt x="8336" y="1084"/>
                </a:lnTo>
                <a:lnTo>
                  <a:pt x="8343" y="1095"/>
                </a:lnTo>
                <a:lnTo>
                  <a:pt x="8356" y="1118"/>
                </a:lnTo>
                <a:lnTo>
                  <a:pt x="8365" y="1146"/>
                </a:lnTo>
                <a:lnTo>
                  <a:pt x="8370" y="1178"/>
                </a:lnTo>
                <a:lnTo>
                  <a:pt x="8374" y="1219"/>
                </a:lnTo>
                <a:lnTo>
                  <a:pt x="8376" y="1268"/>
                </a:lnTo>
                <a:lnTo>
                  <a:pt x="8377" y="1324"/>
                </a:lnTo>
                <a:lnTo>
                  <a:pt x="8377" y="1938"/>
                </a:lnTo>
                <a:lnTo>
                  <a:pt x="8720" y="1938"/>
                </a:lnTo>
                <a:close/>
                <a:moveTo>
                  <a:pt x="2622" y="369"/>
                </a:moveTo>
                <a:lnTo>
                  <a:pt x="2584" y="372"/>
                </a:lnTo>
                <a:lnTo>
                  <a:pt x="2566" y="376"/>
                </a:lnTo>
                <a:lnTo>
                  <a:pt x="2549" y="382"/>
                </a:lnTo>
                <a:lnTo>
                  <a:pt x="2534" y="390"/>
                </a:lnTo>
                <a:lnTo>
                  <a:pt x="2519" y="399"/>
                </a:lnTo>
                <a:lnTo>
                  <a:pt x="2494" y="421"/>
                </a:lnTo>
                <a:lnTo>
                  <a:pt x="2483" y="434"/>
                </a:lnTo>
                <a:lnTo>
                  <a:pt x="2473" y="450"/>
                </a:lnTo>
                <a:lnTo>
                  <a:pt x="2465" y="465"/>
                </a:lnTo>
                <a:lnTo>
                  <a:pt x="2458" y="483"/>
                </a:lnTo>
                <a:lnTo>
                  <a:pt x="2453" y="502"/>
                </a:lnTo>
                <a:lnTo>
                  <a:pt x="2449" y="521"/>
                </a:lnTo>
                <a:lnTo>
                  <a:pt x="2446" y="542"/>
                </a:lnTo>
                <a:lnTo>
                  <a:pt x="2446" y="564"/>
                </a:lnTo>
                <a:lnTo>
                  <a:pt x="2446" y="757"/>
                </a:lnTo>
                <a:lnTo>
                  <a:pt x="2692" y="757"/>
                </a:lnTo>
                <a:lnTo>
                  <a:pt x="2692" y="1027"/>
                </a:lnTo>
                <a:lnTo>
                  <a:pt x="2446" y="1027"/>
                </a:lnTo>
                <a:lnTo>
                  <a:pt x="2446" y="1483"/>
                </a:lnTo>
                <a:lnTo>
                  <a:pt x="2446" y="1938"/>
                </a:lnTo>
                <a:lnTo>
                  <a:pt x="2107" y="1938"/>
                </a:lnTo>
                <a:lnTo>
                  <a:pt x="2107" y="1483"/>
                </a:lnTo>
                <a:lnTo>
                  <a:pt x="2107" y="1027"/>
                </a:lnTo>
                <a:lnTo>
                  <a:pt x="1950" y="1027"/>
                </a:lnTo>
                <a:lnTo>
                  <a:pt x="1950" y="757"/>
                </a:lnTo>
                <a:lnTo>
                  <a:pt x="2107" y="757"/>
                </a:lnTo>
                <a:lnTo>
                  <a:pt x="2107" y="595"/>
                </a:lnTo>
                <a:lnTo>
                  <a:pt x="2110" y="501"/>
                </a:lnTo>
                <a:lnTo>
                  <a:pt x="2115" y="454"/>
                </a:lnTo>
                <a:lnTo>
                  <a:pt x="2122" y="407"/>
                </a:lnTo>
                <a:lnTo>
                  <a:pt x="2126" y="385"/>
                </a:lnTo>
                <a:lnTo>
                  <a:pt x="2130" y="363"/>
                </a:lnTo>
                <a:lnTo>
                  <a:pt x="2144" y="320"/>
                </a:lnTo>
                <a:lnTo>
                  <a:pt x="2152" y="299"/>
                </a:lnTo>
                <a:lnTo>
                  <a:pt x="2160" y="278"/>
                </a:lnTo>
                <a:lnTo>
                  <a:pt x="2182" y="240"/>
                </a:lnTo>
                <a:lnTo>
                  <a:pt x="2207" y="203"/>
                </a:lnTo>
                <a:lnTo>
                  <a:pt x="2222" y="186"/>
                </a:lnTo>
                <a:lnTo>
                  <a:pt x="2238" y="171"/>
                </a:lnTo>
                <a:lnTo>
                  <a:pt x="2255" y="156"/>
                </a:lnTo>
                <a:lnTo>
                  <a:pt x="2274" y="142"/>
                </a:lnTo>
                <a:lnTo>
                  <a:pt x="2316" y="118"/>
                </a:lnTo>
                <a:lnTo>
                  <a:pt x="2339" y="108"/>
                </a:lnTo>
                <a:lnTo>
                  <a:pt x="2365" y="99"/>
                </a:lnTo>
                <a:lnTo>
                  <a:pt x="2391" y="90"/>
                </a:lnTo>
                <a:lnTo>
                  <a:pt x="2419" y="83"/>
                </a:lnTo>
                <a:lnTo>
                  <a:pt x="2449" y="79"/>
                </a:lnTo>
                <a:lnTo>
                  <a:pt x="2481" y="74"/>
                </a:lnTo>
                <a:lnTo>
                  <a:pt x="2516" y="72"/>
                </a:lnTo>
                <a:lnTo>
                  <a:pt x="2551" y="71"/>
                </a:lnTo>
                <a:lnTo>
                  <a:pt x="2615" y="73"/>
                </a:lnTo>
                <a:lnTo>
                  <a:pt x="2668" y="79"/>
                </a:lnTo>
                <a:lnTo>
                  <a:pt x="2721" y="88"/>
                </a:lnTo>
                <a:lnTo>
                  <a:pt x="2782" y="100"/>
                </a:lnTo>
                <a:lnTo>
                  <a:pt x="2782" y="390"/>
                </a:lnTo>
                <a:lnTo>
                  <a:pt x="2717" y="375"/>
                </a:lnTo>
                <a:lnTo>
                  <a:pt x="2676" y="371"/>
                </a:lnTo>
                <a:lnTo>
                  <a:pt x="2622" y="369"/>
                </a:lnTo>
                <a:close/>
                <a:moveTo>
                  <a:pt x="1447" y="1554"/>
                </a:moveTo>
                <a:lnTo>
                  <a:pt x="1649" y="1903"/>
                </a:lnTo>
                <a:lnTo>
                  <a:pt x="1599" y="1930"/>
                </a:lnTo>
                <a:lnTo>
                  <a:pt x="1549" y="1955"/>
                </a:lnTo>
                <a:lnTo>
                  <a:pt x="1498" y="1976"/>
                </a:lnTo>
                <a:lnTo>
                  <a:pt x="1446" y="1995"/>
                </a:lnTo>
                <a:lnTo>
                  <a:pt x="1394" y="2010"/>
                </a:lnTo>
                <a:lnTo>
                  <a:pt x="1342" y="2024"/>
                </a:lnTo>
                <a:lnTo>
                  <a:pt x="1288" y="2035"/>
                </a:lnTo>
                <a:lnTo>
                  <a:pt x="1235" y="2042"/>
                </a:lnTo>
                <a:lnTo>
                  <a:pt x="1183" y="2047"/>
                </a:lnTo>
                <a:lnTo>
                  <a:pt x="1130" y="2050"/>
                </a:lnTo>
                <a:lnTo>
                  <a:pt x="1076" y="2050"/>
                </a:lnTo>
                <a:lnTo>
                  <a:pt x="1023" y="2048"/>
                </a:lnTo>
                <a:lnTo>
                  <a:pt x="971" y="2042"/>
                </a:lnTo>
                <a:lnTo>
                  <a:pt x="919" y="2036"/>
                </a:lnTo>
                <a:lnTo>
                  <a:pt x="866" y="2026"/>
                </a:lnTo>
                <a:lnTo>
                  <a:pt x="815" y="2012"/>
                </a:lnTo>
                <a:lnTo>
                  <a:pt x="764" y="1998"/>
                </a:lnTo>
                <a:lnTo>
                  <a:pt x="714" y="1981"/>
                </a:lnTo>
                <a:lnTo>
                  <a:pt x="690" y="1971"/>
                </a:lnTo>
                <a:lnTo>
                  <a:pt x="665" y="1961"/>
                </a:lnTo>
                <a:lnTo>
                  <a:pt x="618" y="1939"/>
                </a:lnTo>
                <a:lnTo>
                  <a:pt x="570" y="1915"/>
                </a:lnTo>
                <a:lnTo>
                  <a:pt x="524" y="1888"/>
                </a:lnTo>
                <a:lnTo>
                  <a:pt x="480" y="1859"/>
                </a:lnTo>
                <a:lnTo>
                  <a:pt x="436" y="1828"/>
                </a:lnTo>
                <a:lnTo>
                  <a:pt x="394" y="1795"/>
                </a:lnTo>
                <a:lnTo>
                  <a:pt x="353" y="1759"/>
                </a:lnTo>
                <a:lnTo>
                  <a:pt x="314" y="1721"/>
                </a:lnTo>
                <a:lnTo>
                  <a:pt x="278" y="1681"/>
                </a:lnTo>
                <a:lnTo>
                  <a:pt x="242" y="1639"/>
                </a:lnTo>
                <a:lnTo>
                  <a:pt x="209" y="1596"/>
                </a:lnTo>
                <a:lnTo>
                  <a:pt x="177" y="1549"/>
                </a:lnTo>
                <a:lnTo>
                  <a:pt x="148" y="1502"/>
                </a:lnTo>
                <a:lnTo>
                  <a:pt x="120" y="1452"/>
                </a:lnTo>
                <a:lnTo>
                  <a:pt x="97" y="1400"/>
                </a:lnTo>
                <a:lnTo>
                  <a:pt x="74" y="1349"/>
                </a:lnTo>
                <a:lnTo>
                  <a:pt x="55" y="1298"/>
                </a:lnTo>
                <a:lnTo>
                  <a:pt x="40" y="1246"/>
                </a:lnTo>
                <a:lnTo>
                  <a:pt x="27" y="1193"/>
                </a:lnTo>
                <a:lnTo>
                  <a:pt x="17" y="1141"/>
                </a:lnTo>
                <a:lnTo>
                  <a:pt x="8" y="1087"/>
                </a:lnTo>
                <a:lnTo>
                  <a:pt x="3" y="1034"/>
                </a:lnTo>
                <a:lnTo>
                  <a:pt x="0" y="981"/>
                </a:lnTo>
                <a:lnTo>
                  <a:pt x="0" y="928"/>
                </a:lnTo>
                <a:lnTo>
                  <a:pt x="2" y="875"/>
                </a:lnTo>
                <a:lnTo>
                  <a:pt x="8" y="822"/>
                </a:lnTo>
                <a:lnTo>
                  <a:pt x="15" y="770"/>
                </a:lnTo>
                <a:lnTo>
                  <a:pt x="25" y="718"/>
                </a:lnTo>
                <a:lnTo>
                  <a:pt x="38" y="667"/>
                </a:lnTo>
                <a:lnTo>
                  <a:pt x="52" y="616"/>
                </a:lnTo>
                <a:lnTo>
                  <a:pt x="70" y="566"/>
                </a:lnTo>
                <a:lnTo>
                  <a:pt x="79" y="542"/>
                </a:lnTo>
                <a:lnTo>
                  <a:pt x="89" y="517"/>
                </a:lnTo>
                <a:lnTo>
                  <a:pt x="111" y="470"/>
                </a:lnTo>
                <a:lnTo>
                  <a:pt x="135" y="422"/>
                </a:lnTo>
                <a:lnTo>
                  <a:pt x="162" y="376"/>
                </a:lnTo>
                <a:lnTo>
                  <a:pt x="191" y="332"/>
                </a:lnTo>
                <a:lnTo>
                  <a:pt x="222" y="289"/>
                </a:lnTo>
                <a:lnTo>
                  <a:pt x="255" y="246"/>
                </a:lnTo>
                <a:lnTo>
                  <a:pt x="291" y="205"/>
                </a:lnTo>
                <a:lnTo>
                  <a:pt x="329" y="166"/>
                </a:lnTo>
                <a:lnTo>
                  <a:pt x="369" y="130"/>
                </a:lnTo>
                <a:lnTo>
                  <a:pt x="411" y="94"/>
                </a:lnTo>
                <a:lnTo>
                  <a:pt x="455" y="61"/>
                </a:lnTo>
                <a:lnTo>
                  <a:pt x="501" y="29"/>
                </a:lnTo>
                <a:lnTo>
                  <a:pt x="550" y="0"/>
                </a:lnTo>
                <a:lnTo>
                  <a:pt x="825" y="74"/>
                </a:lnTo>
                <a:lnTo>
                  <a:pt x="751" y="349"/>
                </a:lnTo>
                <a:lnTo>
                  <a:pt x="720" y="369"/>
                </a:lnTo>
                <a:lnTo>
                  <a:pt x="690" y="389"/>
                </a:lnTo>
                <a:lnTo>
                  <a:pt x="661" y="411"/>
                </a:lnTo>
                <a:lnTo>
                  <a:pt x="634" y="434"/>
                </a:lnTo>
                <a:lnTo>
                  <a:pt x="608" y="459"/>
                </a:lnTo>
                <a:lnTo>
                  <a:pt x="584" y="484"/>
                </a:lnTo>
                <a:lnTo>
                  <a:pt x="540" y="537"/>
                </a:lnTo>
                <a:lnTo>
                  <a:pt x="520" y="565"/>
                </a:lnTo>
                <a:lnTo>
                  <a:pt x="502" y="594"/>
                </a:lnTo>
                <a:lnTo>
                  <a:pt x="485" y="624"/>
                </a:lnTo>
                <a:lnTo>
                  <a:pt x="470" y="655"/>
                </a:lnTo>
                <a:lnTo>
                  <a:pt x="455" y="686"/>
                </a:lnTo>
                <a:lnTo>
                  <a:pt x="443" y="717"/>
                </a:lnTo>
                <a:lnTo>
                  <a:pt x="424" y="782"/>
                </a:lnTo>
                <a:lnTo>
                  <a:pt x="410" y="848"/>
                </a:lnTo>
                <a:lnTo>
                  <a:pt x="403" y="915"/>
                </a:lnTo>
                <a:lnTo>
                  <a:pt x="401" y="948"/>
                </a:lnTo>
                <a:lnTo>
                  <a:pt x="401" y="982"/>
                </a:lnTo>
                <a:lnTo>
                  <a:pt x="403" y="1015"/>
                </a:lnTo>
                <a:lnTo>
                  <a:pt x="406" y="1048"/>
                </a:lnTo>
                <a:lnTo>
                  <a:pt x="411" y="1082"/>
                </a:lnTo>
                <a:lnTo>
                  <a:pt x="418" y="1115"/>
                </a:lnTo>
                <a:lnTo>
                  <a:pt x="426" y="1147"/>
                </a:lnTo>
                <a:lnTo>
                  <a:pt x="435" y="1179"/>
                </a:lnTo>
                <a:lnTo>
                  <a:pt x="448" y="1211"/>
                </a:lnTo>
                <a:lnTo>
                  <a:pt x="460" y="1242"/>
                </a:lnTo>
                <a:lnTo>
                  <a:pt x="475" y="1273"/>
                </a:lnTo>
                <a:lnTo>
                  <a:pt x="491" y="1303"/>
                </a:lnTo>
                <a:lnTo>
                  <a:pt x="509" y="1332"/>
                </a:lnTo>
                <a:lnTo>
                  <a:pt x="528" y="1359"/>
                </a:lnTo>
                <a:lnTo>
                  <a:pt x="570" y="1412"/>
                </a:lnTo>
                <a:lnTo>
                  <a:pt x="593" y="1436"/>
                </a:lnTo>
                <a:lnTo>
                  <a:pt x="618" y="1459"/>
                </a:lnTo>
                <a:lnTo>
                  <a:pt x="643" y="1482"/>
                </a:lnTo>
                <a:lnTo>
                  <a:pt x="669" y="1503"/>
                </a:lnTo>
                <a:lnTo>
                  <a:pt x="724" y="1540"/>
                </a:lnTo>
                <a:lnTo>
                  <a:pt x="753" y="1557"/>
                </a:lnTo>
                <a:lnTo>
                  <a:pt x="783" y="1573"/>
                </a:lnTo>
                <a:lnTo>
                  <a:pt x="844" y="1600"/>
                </a:lnTo>
                <a:lnTo>
                  <a:pt x="876" y="1612"/>
                </a:lnTo>
                <a:lnTo>
                  <a:pt x="909" y="1622"/>
                </a:lnTo>
                <a:lnTo>
                  <a:pt x="974" y="1636"/>
                </a:lnTo>
                <a:lnTo>
                  <a:pt x="1007" y="1642"/>
                </a:lnTo>
                <a:lnTo>
                  <a:pt x="1042" y="1645"/>
                </a:lnTo>
                <a:lnTo>
                  <a:pt x="1075" y="1647"/>
                </a:lnTo>
                <a:lnTo>
                  <a:pt x="1110" y="1647"/>
                </a:lnTo>
                <a:lnTo>
                  <a:pt x="1144" y="1646"/>
                </a:lnTo>
                <a:lnTo>
                  <a:pt x="1178" y="1643"/>
                </a:lnTo>
                <a:lnTo>
                  <a:pt x="1213" y="1638"/>
                </a:lnTo>
                <a:lnTo>
                  <a:pt x="1246" y="1632"/>
                </a:lnTo>
                <a:lnTo>
                  <a:pt x="1281" y="1624"/>
                </a:lnTo>
                <a:lnTo>
                  <a:pt x="1315" y="1614"/>
                </a:lnTo>
                <a:lnTo>
                  <a:pt x="1348" y="1602"/>
                </a:lnTo>
                <a:lnTo>
                  <a:pt x="1382" y="1587"/>
                </a:lnTo>
                <a:lnTo>
                  <a:pt x="1415" y="1572"/>
                </a:lnTo>
                <a:lnTo>
                  <a:pt x="1447" y="1554"/>
                </a:lnTo>
                <a:close/>
                <a:moveTo>
                  <a:pt x="565" y="1259"/>
                </a:moveTo>
                <a:lnTo>
                  <a:pt x="598" y="1309"/>
                </a:lnTo>
                <a:lnTo>
                  <a:pt x="634" y="1356"/>
                </a:lnTo>
                <a:lnTo>
                  <a:pt x="676" y="1398"/>
                </a:lnTo>
                <a:lnTo>
                  <a:pt x="721" y="1435"/>
                </a:lnTo>
                <a:lnTo>
                  <a:pt x="745" y="1453"/>
                </a:lnTo>
                <a:lnTo>
                  <a:pt x="770" y="1468"/>
                </a:lnTo>
                <a:lnTo>
                  <a:pt x="821" y="1497"/>
                </a:lnTo>
                <a:lnTo>
                  <a:pt x="847" y="1509"/>
                </a:lnTo>
                <a:lnTo>
                  <a:pt x="875" y="1520"/>
                </a:lnTo>
                <a:lnTo>
                  <a:pt x="932" y="1539"/>
                </a:lnTo>
                <a:lnTo>
                  <a:pt x="990" y="1553"/>
                </a:lnTo>
                <a:lnTo>
                  <a:pt x="1049" y="1560"/>
                </a:lnTo>
                <a:lnTo>
                  <a:pt x="1108" y="1563"/>
                </a:lnTo>
                <a:lnTo>
                  <a:pt x="1168" y="1558"/>
                </a:lnTo>
                <a:lnTo>
                  <a:pt x="1228" y="1548"/>
                </a:lnTo>
                <a:lnTo>
                  <a:pt x="1288" y="1533"/>
                </a:lnTo>
                <a:lnTo>
                  <a:pt x="1347" y="1509"/>
                </a:lnTo>
                <a:lnTo>
                  <a:pt x="1405" y="1480"/>
                </a:lnTo>
                <a:lnTo>
                  <a:pt x="1460" y="1445"/>
                </a:lnTo>
                <a:lnTo>
                  <a:pt x="1485" y="1426"/>
                </a:lnTo>
                <a:lnTo>
                  <a:pt x="1508" y="1405"/>
                </a:lnTo>
                <a:lnTo>
                  <a:pt x="1553" y="1362"/>
                </a:lnTo>
                <a:lnTo>
                  <a:pt x="1592" y="1314"/>
                </a:lnTo>
                <a:lnTo>
                  <a:pt x="1625" y="1264"/>
                </a:lnTo>
                <a:lnTo>
                  <a:pt x="1639" y="1237"/>
                </a:lnTo>
                <a:lnTo>
                  <a:pt x="1653" y="1211"/>
                </a:lnTo>
                <a:lnTo>
                  <a:pt x="1665" y="1184"/>
                </a:lnTo>
                <a:lnTo>
                  <a:pt x="1676" y="1156"/>
                </a:lnTo>
                <a:lnTo>
                  <a:pt x="1693" y="1099"/>
                </a:lnTo>
                <a:lnTo>
                  <a:pt x="1705" y="1042"/>
                </a:lnTo>
                <a:lnTo>
                  <a:pt x="1709" y="1013"/>
                </a:lnTo>
                <a:lnTo>
                  <a:pt x="1712" y="983"/>
                </a:lnTo>
                <a:lnTo>
                  <a:pt x="1713" y="924"/>
                </a:lnTo>
                <a:lnTo>
                  <a:pt x="1708" y="866"/>
                </a:lnTo>
                <a:lnTo>
                  <a:pt x="1697" y="807"/>
                </a:lnTo>
                <a:lnTo>
                  <a:pt x="1682" y="751"/>
                </a:lnTo>
                <a:lnTo>
                  <a:pt x="1661" y="696"/>
                </a:lnTo>
                <a:lnTo>
                  <a:pt x="1634" y="643"/>
                </a:lnTo>
                <a:lnTo>
                  <a:pt x="1602" y="593"/>
                </a:lnTo>
                <a:lnTo>
                  <a:pt x="1564" y="547"/>
                </a:lnTo>
                <a:lnTo>
                  <a:pt x="1523" y="505"/>
                </a:lnTo>
                <a:lnTo>
                  <a:pt x="1501" y="485"/>
                </a:lnTo>
                <a:lnTo>
                  <a:pt x="1478" y="467"/>
                </a:lnTo>
                <a:lnTo>
                  <a:pt x="1454" y="450"/>
                </a:lnTo>
                <a:lnTo>
                  <a:pt x="1430" y="434"/>
                </a:lnTo>
                <a:lnTo>
                  <a:pt x="1378" y="405"/>
                </a:lnTo>
                <a:lnTo>
                  <a:pt x="1352" y="393"/>
                </a:lnTo>
                <a:lnTo>
                  <a:pt x="1324" y="382"/>
                </a:lnTo>
                <a:lnTo>
                  <a:pt x="1268" y="363"/>
                </a:lnTo>
                <a:lnTo>
                  <a:pt x="1240" y="356"/>
                </a:lnTo>
                <a:lnTo>
                  <a:pt x="1211" y="350"/>
                </a:lnTo>
                <a:lnTo>
                  <a:pt x="1181" y="345"/>
                </a:lnTo>
                <a:lnTo>
                  <a:pt x="1152" y="342"/>
                </a:lnTo>
                <a:lnTo>
                  <a:pt x="1092" y="340"/>
                </a:lnTo>
                <a:lnTo>
                  <a:pt x="1031" y="344"/>
                </a:lnTo>
                <a:lnTo>
                  <a:pt x="971" y="354"/>
                </a:lnTo>
                <a:lnTo>
                  <a:pt x="911" y="370"/>
                </a:lnTo>
                <a:lnTo>
                  <a:pt x="881" y="381"/>
                </a:lnTo>
                <a:lnTo>
                  <a:pt x="852" y="393"/>
                </a:lnTo>
                <a:lnTo>
                  <a:pt x="823" y="406"/>
                </a:lnTo>
                <a:lnTo>
                  <a:pt x="794" y="423"/>
                </a:lnTo>
                <a:lnTo>
                  <a:pt x="766" y="440"/>
                </a:lnTo>
                <a:lnTo>
                  <a:pt x="740" y="457"/>
                </a:lnTo>
                <a:lnTo>
                  <a:pt x="714" y="476"/>
                </a:lnTo>
                <a:lnTo>
                  <a:pt x="691" y="497"/>
                </a:lnTo>
                <a:lnTo>
                  <a:pt x="646" y="541"/>
                </a:lnTo>
                <a:lnTo>
                  <a:pt x="609" y="589"/>
                </a:lnTo>
                <a:lnTo>
                  <a:pt x="574" y="639"/>
                </a:lnTo>
                <a:lnTo>
                  <a:pt x="560" y="664"/>
                </a:lnTo>
                <a:lnTo>
                  <a:pt x="546" y="692"/>
                </a:lnTo>
                <a:lnTo>
                  <a:pt x="534" y="718"/>
                </a:lnTo>
                <a:lnTo>
                  <a:pt x="524" y="746"/>
                </a:lnTo>
                <a:lnTo>
                  <a:pt x="506" y="803"/>
                </a:lnTo>
                <a:lnTo>
                  <a:pt x="494" y="861"/>
                </a:lnTo>
                <a:lnTo>
                  <a:pt x="488" y="920"/>
                </a:lnTo>
                <a:lnTo>
                  <a:pt x="486" y="978"/>
                </a:lnTo>
                <a:lnTo>
                  <a:pt x="491" y="1037"/>
                </a:lnTo>
                <a:lnTo>
                  <a:pt x="495" y="1066"/>
                </a:lnTo>
                <a:lnTo>
                  <a:pt x="501" y="1095"/>
                </a:lnTo>
                <a:lnTo>
                  <a:pt x="516" y="1152"/>
                </a:lnTo>
                <a:lnTo>
                  <a:pt x="538" y="1207"/>
                </a:lnTo>
                <a:lnTo>
                  <a:pt x="565" y="125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i-FI"/>
          </a:p>
        </p:txBody>
      </p:sp>
    </p:spTree>
    <p:extLst>
      <p:ext uri="{BB962C8B-B14F-4D97-AF65-F5344CB8AC3E}">
        <p14:creationId xmlns:p14="http://schemas.microsoft.com/office/powerpoint/2010/main" val="613941419"/>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Lst>
  <p:hf hdr="0" ftr="0" dt="0"/>
  <p:txStyles>
    <p:titleStyle>
      <a:lvl1pPr algn="l" defTabSz="914400" rtl="0" eaLnBrk="1" latinLnBrk="0" hangingPunct="1">
        <a:lnSpc>
          <a:spcPct val="85000"/>
        </a:lnSpc>
        <a:spcBef>
          <a:spcPct val="0"/>
        </a:spcBef>
        <a:buNone/>
        <a:defRPr sz="2800" b="1" kern="1200">
          <a:solidFill>
            <a:schemeClr val="accent2"/>
          </a:solidFill>
          <a:latin typeface="+mj-lt"/>
          <a:ea typeface="+mj-ea"/>
          <a:cs typeface="+mj-cs"/>
        </a:defRPr>
      </a:lvl1pPr>
    </p:titleStyle>
    <p:bodyStyle>
      <a:lvl1pPr marL="266700" indent="-266700" algn="l" defTabSz="914400" rtl="0" eaLnBrk="1" latinLnBrk="0" hangingPunct="1">
        <a:lnSpc>
          <a:spcPct val="100000"/>
        </a:lnSpc>
        <a:spcBef>
          <a:spcPts val="800"/>
        </a:spcBef>
        <a:buClr>
          <a:schemeClr val="accent2"/>
        </a:buClr>
        <a:buFont typeface="Arial" panose="020B0604020202020204" pitchFamily="34" charset="0"/>
        <a:buChar char="•"/>
        <a:defRPr sz="2000" kern="1200">
          <a:solidFill>
            <a:srgbClr val="000000"/>
          </a:solidFill>
          <a:latin typeface="+mn-lt"/>
          <a:ea typeface="+mn-ea"/>
          <a:cs typeface="+mn-cs"/>
        </a:defRPr>
      </a:lvl1pPr>
      <a:lvl2pPr marL="539750" indent="-273050" algn="l" defTabSz="914400" rtl="0" eaLnBrk="1" latinLnBrk="0" hangingPunct="1">
        <a:lnSpc>
          <a:spcPct val="100000"/>
        </a:lnSpc>
        <a:spcBef>
          <a:spcPts val="800"/>
        </a:spcBef>
        <a:buClr>
          <a:schemeClr val="accent2"/>
        </a:buClr>
        <a:buFont typeface="Arial" panose="020B0604020202020204" pitchFamily="34" charset="0"/>
        <a:buChar char="–"/>
        <a:defRPr sz="1800" kern="1200">
          <a:solidFill>
            <a:srgbClr val="000000"/>
          </a:solidFill>
          <a:latin typeface="+mn-lt"/>
          <a:ea typeface="+mn-ea"/>
          <a:cs typeface="+mn-cs"/>
        </a:defRPr>
      </a:lvl2pPr>
      <a:lvl3pPr marL="806450" indent="-266700" algn="l" defTabSz="914400" rtl="0" eaLnBrk="1" latinLnBrk="0" hangingPunct="1">
        <a:lnSpc>
          <a:spcPct val="100000"/>
        </a:lnSpc>
        <a:spcBef>
          <a:spcPts val="800"/>
        </a:spcBef>
        <a:buClr>
          <a:schemeClr val="accent2"/>
        </a:buClr>
        <a:buFont typeface="Arial" panose="020B0604020202020204" pitchFamily="34" charset="0"/>
        <a:buChar char="•"/>
        <a:defRPr sz="1600" kern="1200">
          <a:solidFill>
            <a:srgbClr val="000000"/>
          </a:solidFill>
          <a:latin typeface="+mn-lt"/>
          <a:ea typeface="+mn-ea"/>
          <a:cs typeface="+mn-cs"/>
        </a:defRPr>
      </a:lvl3pPr>
      <a:lvl4pPr marL="1071563" indent="-265113" algn="l" defTabSz="914400" rtl="0" eaLnBrk="1" latinLnBrk="0" hangingPunct="1">
        <a:lnSpc>
          <a:spcPct val="100000"/>
        </a:lnSpc>
        <a:spcBef>
          <a:spcPts val="800"/>
        </a:spcBef>
        <a:buClr>
          <a:schemeClr val="accent2"/>
        </a:buClr>
        <a:buFont typeface="Arial" panose="020B0604020202020204" pitchFamily="34" charset="0"/>
        <a:buChar char="–"/>
        <a:defRPr sz="1400" kern="1200">
          <a:solidFill>
            <a:srgbClr val="000000"/>
          </a:solidFill>
          <a:latin typeface="+mn-lt"/>
          <a:ea typeface="+mn-ea"/>
          <a:cs typeface="+mn-cs"/>
        </a:defRPr>
      </a:lvl4pPr>
      <a:lvl5pPr marL="1346200" indent="-274638" algn="l" defTabSz="914400" rtl="0" eaLnBrk="1" latinLnBrk="0" hangingPunct="1">
        <a:lnSpc>
          <a:spcPct val="100000"/>
        </a:lnSpc>
        <a:spcBef>
          <a:spcPts val="800"/>
        </a:spcBef>
        <a:buClr>
          <a:schemeClr val="accent2"/>
        </a:buClr>
        <a:buFont typeface="Arial" panose="020B0604020202020204" pitchFamily="34" charset="0"/>
        <a:buChar char="•"/>
        <a:defRPr sz="1400" kern="1200">
          <a:solidFill>
            <a:srgbClr val="000000"/>
          </a:solidFill>
          <a:latin typeface="+mn-lt"/>
          <a:ea typeface="+mn-ea"/>
          <a:cs typeface="+mn-cs"/>
        </a:defRPr>
      </a:lvl5pPr>
      <a:lvl6pPr marL="1612900" indent="-266700" algn="l" defTabSz="914400" rtl="0" eaLnBrk="1" latinLnBrk="0" hangingPunct="1">
        <a:lnSpc>
          <a:spcPct val="100000"/>
        </a:lnSpc>
        <a:spcBef>
          <a:spcPts val="800"/>
        </a:spcBef>
        <a:buClr>
          <a:schemeClr val="accent2"/>
        </a:buClr>
        <a:buFont typeface="Arial" panose="020B0604020202020204" pitchFamily="34" charset="0"/>
        <a:buChar char="–"/>
        <a:defRPr sz="1200" kern="1200">
          <a:solidFill>
            <a:srgbClr val="000000"/>
          </a:solidFill>
          <a:latin typeface="+mn-lt"/>
          <a:ea typeface="+mn-ea"/>
          <a:cs typeface="+mn-cs"/>
        </a:defRPr>
      </a:lvl6pPr>
      <a:lvl7pPr marL="1878013" indent="-265113" algn="l" defTabSz="914400" rtl="0" eaLnBrk="1" latinLnBrk="0" hangingPunct="1">
        <a:lnSpc>
          <a:spcPct val="100000"/>
        </a:lnSpc>
        <a:spcBef>
          <a:spcPts val="800"/>
        </a:spcBef>
        <a:buClr>
          <a:schemeClr val="accent2"/>
        </a:buClr>
        <a:buFont typeface="Arial" panose="020B0604020202020204" pitchFamily="34" charset="0"/>
        <a:buChar char="•"/>
        <a:defRPr sz="1200" kern="1200">
          <a:solidFill>
            <a:srgbClr val="000000"/>
          </a:solidFill>
          <a:latin typeface="+mn-lt"/>
          <a:ea typeface="+mn-ea"/>
          <a:cs typeface="+mn-cs"/>
        </a:defRPr>
      </a:lvl7pPr>
      <a:lvl8pPr marL="2152650" indent="-274638" algn="l" defTabSz="914400" rtl="0" eaLnBrk="1" latinLnBrk="0" hangingPunct="1">
        <a:lnSpc>
          <a:spcPct val="100000"/>
        </a:lnSpc>
        <a:spcBef>
          <a:spcPts val="800"/>
        </a:spcBef>
        <a:buClr>
          <a:schemeClr val="accent2"/>
        </a:buClr>
        <a:buFont typeface="Arial" panose="020B0604020202020204" pitchFamily="34" charset="0"/>
        <a:buChar char="–"/>
        <a:defRPr sz="1200" kern="1200">
          <a:solidFill>
            <a:srgbClr val="000000"/>
          </a:solidFill>
          <a:latin typeface="+mn-lt"/>
          <a:ea typeface="+mn-ea"/>
          <a:cs typeface="+mn-cs"/>
        </a:defRPr>
      </a:lvl8pPr>
      <a:lvl9pPr marL="2419350" indent="-266700" algn="l" defTabSz="914400" rtl="0" eaLnBrk="1" latinLnBrk="0" hangingPunct="1">
        <a:lnSpc>
          <a:spcPct val="100000"/>
        </a:lnSpc>
        <a:spcBef>
          <a:spcPts val="800"/>
        </a:spcBef>
        <a:buClr>
          <a:schemeClr val="accent2"/>
        </a:buClr>
        <a:buFont typeface="Arial" panose="020B0604020202020204" pitchFamily="34" charset="0"/>
        <a:buChar char="•"/>
        <a:defRPr sz="1200" kern="1200">
          <a:solidFill>
            <a:srgbClr val="000000"/>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6.xml"/><Relationship Id="rId7" Type="http://schemas.openxmlformats.org/officeDocument/2006/relationships/image" Target="../media/image38.jpg"/><Relationship Id="rId2" Type="http://schemas.openxmlformats.org/officeDocument/2006/relationships/tags" Target="../tags/tag43.xml"/><Relationship Id="rId1" Type="http://schemas.openxmlformats.org/officeDocument/2006/relationships/vmlDrawing" Target="../drawings/vmlDrawing6.vml"/><Relationship Id="rId6" Type="http://schemas.openxmlformats.org/officeDocument/2006/relationships/image" Target="../media/image37.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notesSlide" Target="../notesSlides/notesSlide2.xml"/><Relationship Id="rId1" Type="http://schemas.openxmlformats.org/officeDocument/2006/relationships/slideLayout" Target="../slideLayouts/slideLayout58.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 Id="rId9"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58.xml"/><Relationship Id="rId6" Type="http://schemas.openxmlformats.org/officeDocument/2006/relationships/image" Target="../media/image24.png"/><Relationship Id="rId5" Type="http://schemas.openxmlformats.org/officeDocument/2006/relationships/image" Target="../media/image27.png"/><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44.xml"/><Relationship Id="rId5" Type="http://schemas.openxmlformats.org/officeDocument/2006/relationships/image" Target="../media/image30.png"/><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3" Type="http://schemas.openxmlformats.org/officeDocument/2006/relationships/image" Target="../media/image33.gif"/><Relationship Id="rId2" Type="http://schemas.openxmlformats.org/officeDocument/2006/relationships/notesSlide" Target="../notesSlides/notesSlide7.xml"/><Relationship Id="rId1" Type="http://schemas.openxmlformats.org/officeDocument/2006/relationships/slideLayout" Target="../slideLayouts/slideLayout46.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46.xml"/><Relationship Id="rId4" Type="http://schemas.openxmlformats.org/officeDocument/2006/relationships/image" Target="../media/image35.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ssholder for bilde 6"/>
          <p:cNvPicPr>
            <a:picLocks noGrp="1" noChangeAspect="1"/>
          </p:cNvPicPr>
          <p:nvPr>
            <p:ph type="pic" sz="quarter" idx="16"/>
          </p:nvPr>
        </p:nvPicPr>
        <p:blipFill rotWithShape="1">
          <a:blip r:embed="rId3" cstate="screen">
            <a:extLst>
              <a:ext uri="{28A0092B-C50C-407E-A947-70E740481C1C}">
                <a14:useLocalDpi xmlns:a14="http://schemas.microsoft.com/office/drawing/2010/main"/>
              </a:ext>
            </a:extLst>
          </a:blip>
          <a:srcRect/>
          <a:stretch/>
        </p:blipFill>
        <p:spPr/>
      </p:pic>
      <p:sp>
        <p:nvSpPr>
          <p:cNvPr id="2" name="Title 1"/>
          <p:cNvSpPr>
            <a:spLocks noGrp="1"/>
          </p:cNvSpPr>
          <p:nvPr>
            <p:ph type="ctrTitle"/>
          </p:nvPr>
        </p:nvSpPr>
        <p:spPr>
          <a:xfrm>
            <a:off x="550866" y="4077072"/>
            <a:ext cx="9217025" cy="1152128"/>
          </a:xfrm>
          <a:ln>
            <a:solidFill>
              <a:schemeClr val="accent1"/>
            </a:solidFill>
          </a:ln>
          <a:effectLst>
            <a:outerShdw blurRad="152400" dist="38100" dir="2700000" algn="tl" rotWithShape="0">
              <a:prstClr val="black">
                <a:alpha val="40000"/>
              </a:prstClr>
            </a:outerShdw>
          </a:effectLst>
        </p:spPr>
        <p:txBody>
          <a:bodyPr/>
          <a:lstStyle/>
          <a:p>
            <a:r>
              <a:rPr lang="en-US" sz="2800" dirty="0" err="1">
                <a:solidFill>
                  <a:schemeClr val="accent1"/>
                </a:solidFill>
              </a:rPr>
              <a:t>GrowSmarter</a:t>
            </a:r>
            <a:r>
              <a:rPr lang="en-US" sz="2800" dirty="0">
                <a:solidFill>
                  <a:schemeClr val="accent1"/>
                </a:solidFill>
              </a:rPr>
              <a:t> –  Integrated solutions for smart cities/testing innovative models in Oslo</a:t>
            </a:r>
            <a:r>
              <a:rPr lang="nb-NO" dirty="0">
                <a:solidFill>
                  <a:schemeClr val="accent1"/>
                </a:solidFill>
              </a:rPr>
              <a:t> 	</a:t>
            </a:r>
            <a:br>
              <a:rPr lang="nb-NO" dirty="0">
                <a:solidFill>
                  <a:schemeClr val="accent1"/>
                </a:solidFill>
              </a:rPr>
            </a:br>
            <a:r>
              <a:rPr lang="nb-NO" sz="3000" dirty="0">
                <a:solidFill>
                  <a:schemeClr val="bg1"/>
                </a:solidFill>
              </a:rPr>
              <a:t> </a:t>
            </a:r>
            <a:endParaRPr lang="en-GB" sz="3000" dirty="0">
              <a:solidFill>
                <a:schemeClr val="bg1"/>
              </a:solidFill>
            </a:endParaRPr>
          </a:p>
        </p:txBody>
      </p:sp>
      <p:sp>
        <p:nvSpPr>
          <p:cNvPr id="3" name="Subtitle 2"/>
          <p:cNvSpPr>
            <a:spLocks noGrp="1"/>
          </p:cNvSpPr>
          <p:nvPr>
            <p:ph type="subTitle" idx="1"/>
          </p:nvPr>
        </p:nvSpPr>
        <p:spPr>
          <a:xfrm>
            <a:off x="550866" y="3580547"/>
            <a:ext cx="9217025" cy="360000"/>
          </a:xfrm>
          <a:effectLst>
            <a:outerShdw blurRad="152400" dist="38100" dir="2700000" algn="tl" rotWithShape="0">
              <a:prstClr val="black">
                <a:alpha val="40000"/>
              </a:prstClr>
            </a:outerShdw>
          </a:effectLst>
        </p:spPr>
        <p:txBody>
          <a:bodyPr>
            <a:normAutofit/>
          </a:bodyPr>
          <a:lstStyle/>
          <a:p>
            <a:r>
              <a:rPr lang="en-GB" sz="1400" spc="100" dirty="0">
                <a:solidFill>
                  <a:schemeClr val="bg1"/>
                </a:solidFill>
                <a:effectLst>
                  <a:outerShdw blurRad="317500" algn="ctr" rotWithShape="0">
                    <a:srgbClr val="000000">
                      <a:alpha val="40000"/>
                    </a:srgbClr>
                  </a:outerShdw>
                </a:effectLst>
              </a:rPr>
              <a:t>Smart Energy Network</a:t>
            </a:r>
          </a:p>
        </p:txBody>
      </p:sp>
      <p:sp>
        <p:nvSpPr>
          <p:cNvPr id="5" name="Text Placeholder 4"/>
          <p:cNvSpPr>
            <a:spLocks noGrp="1"/>
          </p:cNvSpPr>
          <p:nvPr>
            <p:ph type="body" sz="quarter" idx="13"/>
          </p:nvPr>
        </p:nvSpPr>
        <p:spPr>
          <a:xfrm>
            <a:off x="550866" y="6309320"/>
            <a:ext cx="9217025" cy="288975"/>
          </a:xfrm>
          <a:effectLst>
            <a:outerShdw blurRad="152400" dist="38100" dir="2700000" algn="tl" rotWithShape="0">
              <a:prstClr val="black">
                <a:alpha val="40000"/>
              </a:prstClr>
            </a:outerShdw>
          </a:effectLst>
        </p:spPr>
        <p:txBody>
          <a:bodyPr>
            <a:normAutofit/>
          </a:bodyPr>
          <a:lstStyle/>
          <a:p>
            <a:r>
              <a:rPr lang="en-GB" sz="1600" dirty="0">
                <a:solidFill>
                  <a:schemeClr val="bg1"/>
                </a:solidFill>
                <a:effectLst>
                  <a:outerShdw blurRad="317500" algn="ctr" rotWithShape="0">
                    <a:srgbClr val="000000">
                      <a:alpha val="40000"/>
                    </a:srgbClr>
                  </a:outerShdw>
                </a:effectLst>
              </a:rPr>
              <a:t>Cato Kjølstad / Head of public affairs Norway / 21. May 2019</a:t>
            </a:r>
          </a:p>
        </p:txBody>
      </p:sp>
      <p:sp>
        <p:nvSpPr>
          <p:cNvPr id="6" name="Plassholder for tekst 5">
            <a:extLst>
              <a:ext uri="{FF2B5EF4-FFF2-40B4-BE49-F238E27FC236}">
                <a16:creationId xmlns:a16="http://schemas.microsoft.com/office/drawing/2014/main" id="{66BB28A3-CF3C-2546-B38B-09B6DE7298FE}"/>
              </a:ext>
            </a:extLst>
          </p:cNvPr>
          <p:cNvSpPr>
            <a:spLocks noGrp="1"/>
          </p:cNvSpPr>
          <p:nvPr>
            <p:ph type="body" sz="quarter" idx="15"/>
          </p:nvPr>
        </p:nvSpPr>
        <p:spPr/>
        <p:txBody>
          <a:bodyPr/>
          <a:lstStyle/>
          <a:p>
            <a:endParaRPr lang="nb-NO"/>
          </a:p>
        </p:txBody>
      </p:sp>
    </p:spTree>
    <p:extLst>
      <p:ext uri="{BB962C8B-B14F-4D97-AF65-F5344CB8AC3E}">
        <p14:creationId xmlns:p14="http://schemas.microsoft.com/office/powerpoint/2010/main" val="24166537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09BA0F6-6DDB-4F1F-ACD8-73F6E3B5E1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6" name="think-cell Slide" r:id="rId5" imgW="231" imgH="232" progId="TCLayout.ActiveDocument.1">
                  <p:embed/>
                </p:oleObj>
              </mc:Choice>
              <mc:Fallback>
                <p:oleObj name="think-cell Slide" r:id="rId5" imgW="231" imgH="232" progId="TCLayout.ActiveDocument.1">
                  <p:embed/>
                  <p:pic>
                    <p:nvPicPr>
                      <p:cNvPr id="8" name="Object 7" hidden="1">
                        <a:extLst>
                          <a:ext uri="{FF2B5EF4-FFF2-40B4-BE49-F238E27FC236}">
                            <a16:creationId xmlns:a16="http://schemas.microsoft.com/office/drawing/2014/main" id="{E09BA0F6-6DDB-4F1F-ACD8-73F6E3B5E1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Bilde 2">
            <a:extLst>
              <a:ext uri="{FF2B5EF4-FFF2-40B4-BE49-F238E27FC236}">
                <a16:creationId xmlns:a16="http://schemas.microsoft.com/office/drawing/2014/main" id="{2D50914E-430C-4052-85D7-AFF2364BB546}"/>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C3021FBD-F30F-4E1D-9007-45327ED0F6A4}"/>
              </a:ext>
            </a:extLst>
          </p:cNvPr>
          <p:cNvSpPr txBox="1"/>
          <p:nvPr/>
        </p:nvSpPr>
        <p:spPr>
          <a:xfrm>
            <a:off x="5593278" y="5486400"/>
            <a:ext cx="612766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white"/>
                </a:solidFill>
                <a:effectLst/>
                <a:uLnTx/>
                <a:uFillTx/>
                <a:latin typeface="Arial"/>
                <a:ea typeface="+mn-ea"/>
                <a:cs typeface="+mn-cs"/>
              </a:rPr>
              <a:t>CCS – a </a:t>
            </a:r>
            <a:r>
              <a:rPr kumimoji="0" lang="nb-NO" sz="2400" b="0" i="0" u="none" strike="noStrike" kern="1200" cap="none" spc="0" normalizeH="0" baseline="0" noProof="0" dirty="0" err="1">
                <a:ln>
                  <a:noFill/>
                </a:ln>
                <a:solidFill>
                  <a:prstClr val="white"/>
                </a:solidFill>
                <a:effectLst/>
                <a:uLnTx/>
                <a:uFillTx/>
                <a:latin typeface="Arial"/>
                <a:ea typeface="+mn-ea"/>
                <a:cs typeface="+mn-cs"/>
              </a:rPr>
              <a:t>solution</a:t>
            </a:r>
            <a:r>
              <a:rPr kumimoji="0" lang="nb-NO" sz="2400" b="0" i="0" u="none" strike="noStrike" kern="1200" cap="none" spc="0" normalizeH="0" baseline="0" noProof="0" dirty="0">
                <a:ln>
                  <a:noFill/>
                </a:ln>
                <a:solidFill>
                  <a:prstClr val="white"/>
                </a:solidFill>
                <a:effectLst/>
                <a:uLnTx/>
                <a:uFillTx/>
                <a:latin typeface="Arial"/>
                <a:ea typeface="+mn-ea"/>
                <a:cs typeface="+mn-cs"/>
              </a:rPr>
              <a:t> for a </a:t>
            </a:r>
            <a:r>
              <a:rPr kumimoji="0" lang="nb-NO" sz="2400" b="0" i="0" u="none" strike="noStrike" kern="1200" cap="none" spc="0" normalizeH="0" baseline="0" noProof="0" dirty="0" err="1">
                <a:ln>
                  <a:noFill/>
                </a:ln>
                <a:solidFill>
                  <a:prstClr val="white"/>
                </a:solidFill>
                <a:effectLst/>
                <a:uLnTx/>
                <a:uFillTx/>
                <a:latin typeface="Arial"/>
                <a:ea typeface="+mn-ea"/>
                <a:cs typeface="+mn-cs"/>
              </a:rPr>
              <a:t>cleaner</a:t>
            </a:r>
            <a:r>
              <a:rPr kumimoji="0" lang="nb-NO" sz="2400" b="0" i="0" u="none" strike="noStrike" kern="1200" cap="none" spc="0" normalizeH="0" baseline="0" noProof="0" dirty="0">
                <a:ln>
                  <a:noFill/>
                </a:ln>
                <a:solidFill>
                  <a:prstClr val="white"/>
                </a:solidFill>
                <a:effectLst/>
                <a:uLnTx/>
                <a:uFillTx/>
                <a:latin typeface="Arial"/>
                <a:ea typeface="+mn-ea"/>
                <a:cs typeface="+mn-cs"/>
              </a:rPr>
              <a:t>  c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white"/>
                </a:solidFill>
                <a:effectLst/>
                <a:uLnTx/>
                <a:uFillTx/>
                <a:latin typeface="Arial"/>
                <a:ea typeface="+mn-ea"/>
                <a:cs typeface="+mn-cs"/>
              </a:rPr>
              <a:t>CCS – a global </a:t>
            </a:r>
            <a:r>
              <a:rPr kumimoji="0" lang="nb-NO" sz="2400" b="0" i="0" u="none" strike="noStrike" kern="1200" cap="none" spc="0" normalizeH="0" baseline="0" noProof="0" dirty="0" err="1">
                <a:ln>
                  <a:noFill/>
                </a:ln>
                <a:solidFill>
                  <a:prstClr val="white"/>
                </a:solidFill>
                <a:effectLst/>
                <a:uLnTx/>
                <a:uFillTx/>
                <a:latin typeface="Arial"/>
                <a:ea typeface="+mn-ea"/>
                <a:cs typeface="+mn-cs"/>
              </a:rPr>
              <a:t>solution</a:t>
            </a:r>
            <a:r>
              <a:rPr kumimoji="0" lang="nb-NO" sz="2400" b="0" i="0" u="none" strike="noStrike" kern="1200" cap="none" spc="0" normalizeH="0" baseline="0" noProof="0" dirty="0">
                <a:ln>
                  <a:noFill/>
                </a:ln>
                <a:solidFill>
                  <a:prstClr val="white"/>
                </a:solidFill>
                <a:effectLst/>
                <a:uLnTx/>
                <a:uFillTx/>
                <a:latin typeface="Arial"/>
                <a:ea typeface="+mn-ea"/>
                <a:cs typeface="+mn-cs"/>
              </a:rPr>
              <a:t> for a </a:t>
            </a:r>
            <a:r>
              <a:rPr kumimoji="0" lang="nb-NO" sz="2400" b="0" i="0" u="none" strike="noStrike" kern="1200" cap="none" spc="0" normalizeH="0" baseline="0" noProof="0" dirty="0" err="1">
                <a:ln>
                  <a:noFill/>
                </a:ln>
                <a:solidFill>
                  <a:prstClr val="white"/>
                </a:solidFill>
                <a:effectLst/>
                <a:uLnTx/>
                <a:uFillTx/>
                <a:latin typeface="Arial"/>
                <a:ea typeface="+mn-ea"/>
                <a:cs typeface="+mn-cs"/>
              </a:rPr>
              <a:t>cleaner</a:t>
            </a:r>
            <a:r>
              <a:rPr kumimoji="0" lang="nb-NO" sz="2400" b="0" i="0" u="none" strike="noStrike" kern="1200" cap="none" spc="0" normalizeH="0" baseline="0" noProof="0" dirty="0">
                <a:ln>
                  <a:noFill/>
                </a:ln>
                <a:solidFill>
                  <a:prstClr val="white"/>
                </a:solidFill>
                <a:effectLst/>
                <a:uLnTx/>
                <a:uFillTx/>
                <a:latin typeface="Arial"/>
                <a:ea typeface="+mn-ea"/>
                <a:cs typeface="+mn-cs"/>
              </a:rPr>
              <a:t> </a:t>
            </a:r>
            <a:r>
              <a:rPr kumimoji="0" lang="nb-NO" sz="2400" b="0" i="0" u="none" strike="noStrike" kern="1200" cap="none" spc="0" normalizeH="0" baseline="0" noProof="0" dirty="0" err="1">
                <a:ln>
                  <a:noFill/>
                </a:ln>
                <a:solidFill>
                  <a:prstClr val="white"/>
                </a:solidFill>
                <a:effectLst/>
                <a:uLnTx/>
                <a:uFillTx/>
                <a:latin typeface="Arial"/>
                <a:ea typeface="+mn-ea"/>
                <a:cs typeface="+mn-cs"/>
              </a:rPr>
              <a:t>world</a:t>
            </a:r>
            <a:endParaRPr kumimoji="0" lang="nb-NO" sz="24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071379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2DAE2-B44D-4036-B123-4934AC52392A}"/>
              </a:ext>
            </a:extLst>
          </p:cNvPr>
          <p:cNvSpPr>
            <a:spLocks noGrp="1"/>
          </p:cNvSpPr>
          <p:nvPr>
            <p:ph type="title"/>
          </p:nvPr>
        </p:nvSpPr>
        <p:spPr/>
        <p:txBody>
          <a:bodyPr/>
          <a:lstStyle/>
          <a:p>
            <a:r>
              <a:rPr lang="en-US" dirty="0" err="1">
                <a:solidFill>
                  <a:schemeClr val="accent1"/>
                </a:solidFill>
              </a:rPr>
              <a:t>GrowSmarter</a:t>
            </a:r>
            <a:r>
              <a:rPr lang="en-US" dirty="0">
                <a:solidFill>
                  <a:schemeClr val="accent1"/>
                </a:solidFill>
              </a:rPr>
              <a:t> –  Integrated solutions for smart cities/testing innovative models in Oslo</a:t>
            </a:r>
            <a:endParaRPr lang="nb-NO" dirty="0"/>
          </a:p>
        </p:txBody>
      </p:sp>
      <p:sp>
        <p:nvSpPr>
          <p:cNvPr id="3" name="Content Placeholder 2">
            <a:extLst>
              <a:ext uri="{FF2B5EF4-FFF2-40B4-BE49-F238E27FC236}">
                <a16:creationId xmlns:a16="http://schemas.microsoft.com/office/drawing/2014/main" id="{7F686780-019F-46A2-BDDA-6DAC8D799814}"/>
              </a:ext>
            </a:extLst>
          </p:cNvPr>
          <p:cNvSpPr>
            <a:spLocks noGrp="1"/>
          </p:cNvSpPr>
          <p:nvPr>
            <p:ph idx="1"/>
          </p:nvPr>
        </p:nvSpPr>
        <p:spPr>
          <a:xfrm>
            <a:off x="550864" y="1484317"/>
            <a:ext cx="5861811" cy="4860923"/>
          </a:xfrm>
        </p:spPr>
        <p:txBody>
          <a:bodyPr>
            <a:normAutofit/>
          </a:bodyPr>
          <a:lstStyle/>
          <a:p>
            <a:r>
              <a:rPr lang="nb-NO" dirty="0"/>
              <a:t>Smart </a:t>
            </a:r>
            <a:r>
              <a:rPr lang="nb-NO" dirty="0" err="1"/>
              <a:t>cities</a:t>
            </a:r>
            <a:r>
              <a:rPr lang="nb-NO" dirty="0"/>
              <a:t> </a:t>
            </a:r>
            <a:r>
              <a:rPr lang="nb-NO" dirty="0" err="1"/>
              <a:t>need</a:t>
            </a:r>
            <a:r>
              <a:rPr lang="nb-NO" dirty="0"/>
              <a:t>:</a:t>
            </a:r>
          </a:p>
          <a:p>
            <a:endParaRPr lang="nb-NO" dirty="0"/>
          </a:p>
          <a:p>
            <a:pPr lvl="1"/>
            <a:r>
              <a:rPr lang="nb-NO" dirty="0"/>
              <a:t>Solutions </a:t>
            </a:r>
            <a:r>
              <a:rPr lang="nb-NO" dirty="0" err="1"/>
              <a:t>which</a:t>
            </a:r>
            <a:r>
              <a:rPr lang="nb-NO" dirty="0"/>
              <a:t> </a:t>
            </a:r>
            <a:r>
              <a:rPr lang="nb-NO" dirty="0" err="1"/>
              <a:t>fulfill</a:t>
            </a:r>
            <a:r>
              <a:rPr lang="nb-NO" dirty="0"/>
              <a:t> </a:t>
            </a:r>
            <a:r>
              <a:rPr lang="nb-NO" dirty="0" err="1"/>
              <a:t>what</a:t>
            </a:r>
            <a:r>
              <a:rPr lang="nb-NO" dirty="0"/>
              <a:t> </a:t>
            </a:r>
            <a:r>
              <a:rPr lang="nb-NO" dirty="0" err="1"/>
              <a:t>the</a:t>
            </a:r>
            <a:r>
              <a:rPr lang="nb-NO" dirty="0"/>
              <a:t> </a:t>
            </a:r>
            <a:r>
              <a:rPr lang="nb-NO" dirty="0" err="1"/>
              <a:t>customer</a:t>
            </a:r>
            <a:r>
              <a:rPr lang="nb-NO" dirty="0"/>
              <a:t> </a:t>
            </a:r>
            <a:r>
              <a:rPr lang="nb-NO" dirty="0" err="1"/>
              <a:t>need</a:t>
            </a:r>
            <a:endParaRPr lang="nb-NO" dirty="0"/>
          </a:p>
          <a:p>
            <a:pPr lvl="1"/>
            <a:r>
              <a:rPr lang="nb-NO" dirty="0"/>
              <a:t> </a:t>
            </a:r>
          </a:p>
          <a:p>
            <a:pPr lvl="1"/>
            <a:r>
              <a:rPr lang="nb-NO" dirty="0" err="1"/>
              <a:t>Innovation</a:t>
            </a:r>
            <a:r>
              <a:rPr lang="nb-NO" dirty="0"/>
              <a:t> and smart </a:t>
            </a:r>
            <a:r>
              <a:rPr lang="nb-NO" dirty="0" err="1"/>
              <a:t>thinking</a:t>
            </a:r>
            <a:endParaRPr lang="nb-NO" dirty="0"/>
          </a:p>
          <a:p>
            <a:pPr lvl="1"/>
            <a:endParaRPr lang="nb-NO" dirty="0"/>
          </a:p>
          <a:p>
            <a:pPr lvl="1"/>
            <a:r>
              <a:rPr lang="nb-NO" dirty="0"/>
              <a:t>Energy </a:t>
            </a:r>
            <a:r>
              <a:rPr lang="nb-NO" dirty="0" err="1"/>
              <a:t>solutions</a:t>
            </a:r>
            <a:r>
              <a:rPr lang="nb-NO" dirty="0"/>
              <a:t>; Integration and </a:t>
            </a:r>
            <a:r>
              <a:rPr lang="nb-NO" dirty="0" err="1"/>
              <a:t>flexibility</a:t>
            </a:r>
            <a:endParaRPr lang="nb-NO" dirty="0"/>
          </a:p>
          <a:p>
            <a:pPr lvl="1"/>
            <a:endParaRPr lang="nb-NO" dirty="0"/>
          </a:p>
          <a:p>
            <a:pPr lvl="1"/>
            <a:r>
              <a:rPr lang="nb-NO" dirty="0"/>
              <a:t>Using </a:t>
            </a:r>
            <a:r>
              <a:rPr lang="nb-NO" dirty="0" err="1"/>
              <a:t>the</a:t>
            </a:r>
            <a:r>
              <a:rPr lang="nb-NO" dirty="0"/>
              <a:t> right </a:t>
            </a:r>
            <a:r>
              <a:rPr lang="nb-NO" dirty="0" err="1"/>
              <a:t>resource</a:t>
            </a:r>
            <a:r>
              <a:rPr lang="nb-NO" dirty="0"/>
              <a:t> for </a:t>
            </a:r>
            <a:r>
              <a:rPr lang="nb-NO" dirty="0" err="1"/>
              <a:t>the</a:t>
            </a:r>
            <a:r>
              <a:rPr lang="nb-NO" dirty="0"/>
              <a:t> right purpose</a:t>
            </a:r>
          </a:p>
          <a:p>
            <a:pPr lvl="1"/>
            <a:endParaRPr lang="nb-NO" dirty="0"/>
          </a:p>
          <a:p>
            <a:pPr lvl="1"/>
            <a:r>
              <a:rPr lang="nb-NO" dirty="0"/>
              <a:t>Using and </a:t>
            </a:r>
            <a:r>
              <a:rPr lang="nb-NO" dirty="0" err="1"/>
              <a:t>developing</a:t>
            </a:r>
            <a:r>
              <a:rPr lang="nb-NO" dirty="0"/>
              <a:t> </a:t>
            </a:r>
            <a:r>
              <a:rPr lang="nb-NO" dirty="0" err="1"/>
              <a:t>technology</a:t>
            </a:r>
            <a:r>
              <a:rPr lang="nb-NO" dirty="0"/>
              <a:t> for right purpose</a:t>
            </a:r>
          </a:p>
          <a:p>
            <a:pPr lvl="1"/>
            <a:endParaRPr lang="nb-NO" dirty="0"/>
          </a:p>
          <a:p>
            <a:pPr lvl="1"/>
            <a:r>
              <a:rPr lang="nb-NO" dirty="0"/>
              <a:t>Solutions for </a:t>
            </a:r>
            <a:r>
              <a:rPr lang="nb-NO" dirty="0" err="1"/>
              <a:t>cleaner</a:t>
            </a:r>
            <a:r>
              <a:rPr lang="nb-NO" dirty="0"/>
              <a:t> </a:t>
            </a:r>
            <a:r>
              <a:rPr lang="nb-NO" dirty="0" err="1"/>
              <a:t>cities</a:t>
            </a:r>
            <a:r>
              <a:rPr lang="nb-NO" dirty="0"/>
              <a:t> – for a </a:t>
            </a:r>
            <a:r>
              <a:rPr lang="nb-NO" dirty="0" err="1"/>
              <a:t>cleaner</a:t>
            </a:r>
            <a:r>
              <a:rPr lang="nb-NO" dirty="0"/>
              <a:t> </a:t>
            </a:r>
            <a:r>
              <a:rPr lang="nb-NO" dirty="0" err="1"/>
              <a:t>world</a:t>
            </a:r>
            <a:endParaRPr lang="nb-NO" dirty="0"/>
          </a:p>
          <a:p>
            <a:endParaRPr lang="nb-NO" dirty="0"/>
          </a:p>
        </p:txBody>
      </p:sp>
      <p:sp>
        <p:nvSpPr>
          <p:cNvPr id="4" name="Slide Number Placeholder 3">
            <a:extLst>
              <a:ext uri="{FF2B5EF4-FFF2-40B4-BE49-F238E27FC236}">
                <a16:creationId xmlns:a16="http://schemas.microsoft.com/office/drawing/2014/main" id="{87C72321-E6A4-4EC6-A165-2D475534B3A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90E5A77-D385-4CDE-8FE8-D3E3CBE93E71}"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pic>
        <p:nvPicPr>
          <p:cNvPr id="5" name="Picture 4">
            <a:extLst>
              <a:ext uri="{FF2B5EF4-FFF2-40B4-BE49-F238E27FC236}">
                <a16:creationId xmlns:a16="http://schemas.microsoft.com/office/drawing/2014/main" id="{F46C50FB-C239-49BB-A7BD-25AD8839328D}"/>
              </a:ext>
            </a:extLst>
          </p:cNvPr>
          <p:cNvPicPr>
            <a:picLocks noChangeAspect="1"/>
          </p:cNvPicPr>
          <p:nvPr/>
        </p:nvPicPr>
        <p:blipFill>
          <a:blip r:embed="rId3"/>
          <a:stretch>
            <a:fillRect/>
          </a:stretch>
        </p:blipFill>
        <p:spPr>
          <a:xfrm>
            <a:off x="6412675" y="1564475"/>
            <a:ext cx="5779325" cy="4780765"/>
          </a:xfrm>
          <a:prstGeom prst="rect">
            <a:avLst/>
          </a:prstGeom>
        </p:spPr>
      </p:pic>
    </p:spTree>
    <p:extLst>
      <p:ext uri="{BB962C8B-B14F-4D97-AF65-F5344CB8AC3E}">
        <p14:creationId xmlns:p14="http://schemas.microsoft.com/office/powerpoint/2010/main" val="23989015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Hafslund - Helikopterbilde - Framegrab.png">
            <a:extLst>
              <a:ext uri="{FF2B5EF4-FFF2-40B4-BE49-F238E27FC236}">
                <a16:creationId xmlns:a16="http://schemas.microsoft.com/office/drawing/2014/main" id="{DB3361AE-7AC0-964D-9EB1-13857751ECA9}"/>
              </a:ext>
            </a:extLst>
          </p:cNvPr>
          <p:cNvPicPr>
            <a:picLocks noChangeAspect="1"/>
          </p:cNvPicPr>
          <p:nvPr/>
        </p:nvPicPr>
        <p:blipFill>
          <a:blip r:embed="rId3"/>
          <a:stretch>
            <a:fillRect/>
          </a:stretch>
        </p:blipFill>
        <p:spPr>
          <a:xfrm>
            <a:off x="0" y="0"/>
            <a:ext cx="12192000" cy="6858000"/>
          </a:xfrm>
          <a:prstGeom prst="rect">
            <a:avLst/>
          </a:prstGeom>
          <a:ln w="12700">
            <a:miter lim="400000"/>
          </a:ln>
        </p:spPr>
      </p:pic>
      <p:sp>
        <p:nvSpPr>
          <p:cNvPr id="4" name="Plassholder for lysbildenummer 3">
            <a:extLst>
              <a:ext uri="{FF2B5EF4-FFF2-40B4-BE49-F238E27FC236}">
                <a16:creationId xmlns:a16="http://schemas.microsoft.com/office/drawing/2014/main" id="{91F390EA-159F-A947-AED9-8C34C2A3E29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90E5A77-D385-4CDE-8FE8-D3E3CBE93E71}"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 Placeholder 4">
            <a:extLst>
              <a:ext uri="{FF2B5EF4-FFF2-40B4-BE49-F238E27FC236}">
                <a16:creationId xmlns:a16="http://schemas.microsoft.com/office/drawing/2014/main" id="{C289BF7B-CCF2-BE47-A152-9EE097846C7C}"/>
              </a:ext>
            </a:extLst>
          </p:cNvPr>
          <p:cNvSpPr txBox="1">
            <a:spLocks/>
          </p:cNvSpPr>
          <p:nvPr/>
        </p:nvSpPr>
        <p:spPr>
          <a:xfrm>
            <a:off x="0" y="6309320"/>
            <a:ext cx="12192000" cy="288975"/>
          </a:xfrm>
          <a:prstGeom prst="rect">
            <a:avLst/>
          </a:prstGeom>
          <a:effectLst>
            <a:outerShdw blurRad="152400" dist="38100" dir="2700000" algn="tl" rotWithShape="0">
              <a:prstClr val="black">
                <a:alpha val="40000"/>
              </a:prstClr>
            </a:outerShdw>
          </a:effectLst>
        </p:spPr>
        <p:txBody>
          <a:bodyPr>
            <a:normAutofit fontScale="92500" lnSpcReduction="20000"/>
          </a:bodyPr>
          <a:lstStyle>
            <a:lvl1pPr marL="266700" indent="-266700" algn="l" defTabSz="914400" rtl="0" eaLnBrk="1" latinLnBrk="0" hangingPunct="1">
              <a:lnSpc>
                <a:spcPct val="100000"/>
              </a:lnSpc>
              <a:spcBef>
                <a:spcPts val="800"/>
              </a:spcBef>
              <a:buClr>
                <a:schemeClr val="accent2"/>
              </a:buClr>
              <a:buFont typeface="Arial" panose="020B0604020202020204" pitchFamily="34" charset="0"/>
              <a:buChar char="•"/>
              <a:defRPr sz="2000" kern="1200">
                <a:solidFill>
                  <a:srgbClr val="000000"/>
                </a:solidFill>
                <a:latin typeface="+mn-lt"/>
                <a:ea typeface="+mn-ea"/>
                <a:cs typeface="+mn-cs"/>
              </a:defRPr>
            </a:lvl1pPr>
            <a:lvl2pPr marL="539750" indent="-273050" algn="l" defTabSz="914400" rtl="0" eaLnBrk="1" latinLnBrk="0" hangingPunct="1">
              <a:lnSpc>
                <a:spcPct val="100000"/>
              </a:lnSpc>
              <a:spcBef>
                <a:spcPts val="800"/>
              </a:spcBef>
              <a:buClr>
                <a:schemeClr val="accent2"/>
              </a:buClr>
              <a:buFont typeface="Arial" panose="020B0604020202020204" pitchFamily="34" charset="0"/>
              <a:buChar char="–"/>
              <a:defRPr sz="1800" kern="1200">
                <a:solidFill>
                  <a:srgbClr val="000000"/>
                </a:solidFill>
                <a:latin typeface="+mn-lt"/>
                <a:ea typeface="+mn-ea"/>
                <a:cs typeface="+mn-cs"/>
              </a:defRPr>
            </a:lvl2pPr>
            <a:lvl3pPr marL="806450" indent="-266700" algn="l" defTabSz="914400" rtl="0" eaLnBrk="1" latinLnBrk="0" hangingPunct="1">
              <a:lnSpc>
                <a:spcPct val="100000"/>
              </a:lnSpc>
              <a:spcBef>
                <a:spcPts val="800"/>
              </a:spcBef>
              <a:buClr>
                <a:schemeClr val="accent2"/>
              </a:buClr>
              <a:buFont typeface="Arial" panose="020B0604020202020204" pitchFamily="34" charset="0"/>
              <a:buChar char="•"/>
              <a:defRPr sz="1600" kern="1200">
                <a:solidFill>
                  <a:srgbClr val="000000"/>
                </a:solidFill>
                <a:latin typeface="+mn-lt"/>
                <a:ea typeface="+mn-ea"/>
                <a:cs typeface="+mn-cs"/>
              </a:defRPr>
            </a:lvl3pPr>
            <a:lvl4pPr marL="1071563" indent="-265113" algn="l" defTabSz="914400" rtl="0" eaLnBrk="1" latinLnBrk="0" hangingPunct="1">
              <a:lnSpc>
                <a:spcPct val="100000"/>
              </a:lnSpc>
              <a:spcBef>
                <a:spcPts val="800"/>
              </a:spcBef>
              <a:buClr>
                <a:schemeClr val="accent2"/>
              </a:buClr>
              <a:buFont typeface="Arial" panose="020B0604020202020204" pitchFamily="34" charset="0"/>
              <a:buChar char="–"/>
              <a:defRPr sz="1400" kern="1200">
                <a:solidFill>
                  <a:srgbClr val="000000"/>
                </a:solidFill>
                <a:latin typeface="+mn-lt"/>
                <a:ea typeface="+mn-ea"/>
                <a:cs typeface="+mn-cs"/>
              </a:defRPr>
            </a:lvl4pPr>
            <a:lvl5pPr marL="1346200" indent="-274638" algn="l" defTabSz="914400" rtl="0" eaLnBrk="1" latinLnBrk="0" hangingPunct="1">
              <a:lnSpc>
                <a:spcPct val="100000"/>
              </a:lnSpc>
              <a:spcBef>
                <a:spcPts val="800"/>
              </a:spcBef>
              <a:buClr>
                <a:schemeClr val="accent2"/>
              </a:buClr>
              <a:buFont typeface="Arial" panose="020B0604020202020204" pitchFamily="34" charset="0"/>
              <a:buChar char="•"/>
              <a:defRPr sz="1400" kern="1200">
                <a:solidFill>
                  <a:srgbClr val="000000"/>
                </a:solidFill>
                <a:latin typeface="+mn-lt"/>
                <a:ea typeface="+mn-ea"/>
                <a:cs typeface="+mn-cs"/>
              </a:defRPr>
            </a:lvl5pPr>
            <a:lvl6pPr marL="1612900" indent="-266700" algn="l" defTabSz="914400" rtl="0" eaLnBrk="1" latinLnBrk="0" hangingPunct="1">
              <a:lnSpc>
                <a:spcPct val="100000"/>
              </a:lnSpc>
              <a:spcBef>
                <a:spcPts val="800"/>
              </a:spcBef>
              <a:buClr>
                <a:schemeClr val="accent2"/>
              </a:buClr>
              <a:buFont typeface="Arial" panose="020B0604020202020204" pitchFamily="34" charset="0"/>
              <a:buChar char="–"/>
              <a:defRPr sz="1200" kern="1200">
                <a:solidFill>
                  <a:srgbClr val="000000"/>
                </a:solidFill>
                <a:latin typeface="+mn-lt"/>
                <a:ea typeface="+mn-ea"/>
                <a:cs typeface="+mn-cs"/>
              </a:defRPr>
            </a:lvl6pPr>
            <a:lvl7pPr marL="1878013" indent="-265113" algn="l" defTabSz="914400" rtl="0" eaLnBrk="1" latinLnBrk="0" hangingPunct="1">
              <a:lnSpc>
                <a:spcPct val="100000"/>
              </a:lnSpc>
              <a:spcBef>
                <a:spcPts val="800"/>
              </a:spcBef>
              <a:buClr>
                <a:schemeClr val="accent2"/>
              </a:buClr>
              <a:buFont typeface="Arial" panose="020B0604020202020204" pitchFamily="34" charset="0"/>
              <a:buChar char="•"/>
              <a:defRPr sz="1200" kern="1200">
                <a:solidFill>
                  <a:srgbClr val="000000"/>
                </a:solidFill>
                <a:latin typeface="+mn-lt"/>
                <a:ea typeface="+mn-ea"/>
                <a:cs typeface="+mn-cs"/>
              </a:defRPr>
            </a:lvl7pPr>
            <a:lvl8pPr marL="2152650" indent="-274638" algn="l" defTabSz="914400" rtl="0" eaLnBrk="1" latinLnBrk="0" hangingPunct="1">
              <a:lnSpc>
                <a:spcPct val="100000"/>
              </a:lnSpc>
              <a:spcBef>
                <a:spcPts val="800"/>
              </a:spcBef>
              <a:buClr>
                <a:schemeClr val="accent2"/>
              </a:buClr>
              <a:buFont typeface="Arial" panose="020B0604020202020204" pitchFamily="34" charset="0"/>
              <a:buChar char="–"/>
              <a:defRPr sz="1200" kern="1200">
                <a:solidFill>
                  <a:srgbClr val="000000"/>
                </a:solidFill>
                <a:latin typeface="+mn-lt"/>
                <a:ea typeface="+mn-ea"/>
                <a:cs typeface="+mn-cs"/>
              </a:defRPr>
            </a:lvl8pPr>
            <a:lvl9pPr marL="2419350" indent="-266700" algn="l" defTabSz="914400" rtl="0" eaLnBrk="1" latinLnBrk="0" hangingPunct="1">
              <a:lnSpc>
                <a:spcPct val="100000"/>
              </a:lnSpc>
              <a:spcBef>
                <a:spcPts val="800"/>
              </a:spcBef>
              <a:buClr>
                <a:schemeClr val="accent2"/>
              </a:buClr>
              <a:buFont typeface="Arial" panose="020B0604020202020204" pitchFamily="34" charset="0"/>
              <a:buChar char="•"/>
              <a:defRPr sz="1200" kern="1200">
                <a:solidFill>
                  <a:srgbClr val="000000"/>
                </a:solidFill>
                <a:latin typeface="+mn-lt"/>
                <a:ea typeface="+mn-ea"/>
                <a:cs typeface="+mn-cs"/>
              </a:defRPr>
            </a:lvl9pPr>
          </a:lstStyle>
          <a:p>
            <a:pPr marL="266700" marR="0" lvl="0" indent="-266700" algn="ctr" defTabSz="914400" rtl="0" eaLnBrk="1" fontAlgn="auto" latinLnBrk="0" hangingPunct="1">
              <a:lnSpc>
                <a:spcPct val="100000"/>
              </a:lnSpc>
              <a:spcBef>
                <a:spcPts val="800"/>
              </a:spcBef>
              <a:spcAft>
                <a:spcPts val="0"/>
              </a:spcAft>
              <a:buClr>
                <a:srgbClr val="377A6C"/>
              </a:buClr>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outerShdw blurRad="317500" algn="ctr" rotWithShape="0">
                    <a:srgbClr val="000000">
                      <a:alpha val="40000"/>
                    </a:srgbClr>
                  </a:outerShdw>
                </a:effectLst>
                <a:uLnTx/>
                <a:uFillTx/>
                <a:latin typeface="Arial"/>
                <a:ea typeface="+mn-ea"/>
                <a:cs typeface="+mn-cs"/>
              </a:rPr>
              <a:t>Cato Kjølstad / cato.kjolstad@fortum.com</a:t>
            </a:r>
          </a:p>
        </p:txBody>
      </p:sp>
      <p:sp>
        <p:nvSpPr>
          <p:cNvPr id="2" name="TextBox 1">
            <a:extLst>
              <a:ext uri="{FF2B5EF4-FFF2-40B4-BE49-F238E27FC236}">
                <a16:creationId xmlns:a16="http://schemas.microsoft.com/office/drawing/2014/main" id="{B6B8C216-0A02-493A-B467-E07D9C20D9C8}"/>
              </a:ext>
            </a:extLst>
          </p:cNvPr>
          <p:cNvSpPr txBox="1"/>
          <p:nvPr/>
        </p:nvSpPr>
        <p:spPr>
          <a:xfrm>
            <a:off x="1793174" y="736270"/>
            <a:ext cx="7968343"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800" b="0" i="0" u="none" strike="noStrike" kern="1200" cap="none" spc="0" normalizeH="0" baseline="0" noProof="0" dirty="0" err="1">
                <a:ln>
                  <a:noFill/>
                </a:ln>
                <a:solidFill>
                  <a:prstClr val="white"/>
                </a:solidFill>
                <a:effectLst/>
                <a:uLnTx/>
                <a:uFillTx/>
                <a:latin typeface="Arial"/>
                <a:ea typeface="+mn-ea"/>
                <a:cs typeface="+mn-cs"/>
              </a:rPr>
              <a:t>Thank</a:t>
            </a:r>
            <a:r>
              <a:rPr kumimoji="0" lang="nb-NO" sz="4800" b="0" i="0" u="none" strike="noStrike" kern="1200" cap="none" spc="0" normalizeH="0" baseline="0" noProof="0" dirty="0">
                <a:ln>
                  <a:noFill/>
                </a:ln>
                <a:solidFill>
                  <a:prstClr val="white"/>
                </a:solidFill>
                <a:effectLst/>
                <a:uLnTx/>
                <a:uFillTx/>
                <a:latin typeface="Arial"/>
                <a:ea typeface="+mn-ea"/>
                <a:cs typeface="+mn-cs"/>
              </a:rPr>
              <a:t> </a:t>
            </a:r>
            <a:r>
              <a:rPr kumimoji="0" lang="nb-NO" sz="4800" b="0" i="0" u="none" strike="noStrike" kern="1200" cap="none" spc="0" normalizeH="0" baseline="0" noProof="0" dirty="0" err="1">
                <a:ln>
                  <a:noFill/>
                </a:ln>
                <a:solidFill>
                  <a:prstClr val="white"/>
                </a:solidFill>
                <a:effectLst/>
                <a:uLnTx/>
                <a:uFillTx/>
                <a:latin typeface="Arial"/>
                <a:ea typeface="+mn-ea"/>
                <a:cs typeface="+mn-cs"/>
              </a:rPr>
              <a:t>you</a:t>
            </a:r>
            <a:r>
              <a:rPr kumimoji="0" lang="nb-NO" sz="4800" b="0" i="0" u="none" strike="noStrike" kern="1200" cap="none" spc="0" normalizeH="0" baseline="0" noProof="0" dirty="0">
                <a:ln>
                  <a:noFill/>
                </a:ln>
                <a:solidFill>
                  <a:prstClr val="white"/>
                </a:solidFill>
                <a:effectLst/>
                <a:uLnTx/>
                <a:uFillTx/>
                <a:latin typeface="Arial"/>
                <a:ea typeface="+mn-ea"/>
                <a:cs typeface="+mn-cs"/>
              </a:rPr>
              <a:t> for </a:t>
            </a:r>
            <a:r>
              <a:rPr kumimoji="0" lang="nb-NO" sz="4800" b="0" i="0" u="none" strike="noStrike" kern="1200" cap="none" spc="0" normalizeH="0" baseline="0" noProof="0" dirty="0" err="1">
                <a:ln>
                  <a:noFill/>
                </a:ln>
                <a:solidFill>
                  <a:prstClr val="white"/>
                </a:solidFill>
                <a:effectLst/>
                <a:uLnTx/>
                <a:uFillTx/>
                <a:latin typeface="Arial"/>
                <a:ea typeface="+mn-ea"/>
                <a:cs typeface="+mn-cs"/>
              </a:rPr>
              <a:t>the</a:t>
            </a:r>
            <a:r>
              <a:rPr kumimoji="0" lang="nb-NO" sz="4800" b="0" i="0" u="none" strike="noStrike" kern="1200" cap="none" spc="0" normalizeH="0" baseline="0" noProof="0" dirty="0">
                <a:ln>
                  <a:noFill/>
                </a:ln>
                <a:solidFill>
                  <a:prstClr val="white"/>
                </a:solidFill>
                <a:effectLst/>
                <a:uLnTx/>
                <a:uFillTx/>
                <a:latin typeface="Arial"/>
                <a:ea typeface="+mn-ea"/>
                <a:cs typeface="+mn-cs"/>
              </a:rPr>
              <a:t> </a:t>
            </a:r>
            <a:r>
              <a:rPr kumimoji="0" lang="nb-NO" sz="4800" b="0" i="0" u="none" strike="noStrike" kern="1200" cap="none" spc="0" normalizeH="0" baseline="0" noProof="0" dirty="0" err="1">
                <a:ln>
                  <a:noFill/>
                </a:ln>
                <a:solidFill>
                  <a:prstClr val="white"/>
                </a:solidFill>
                <a:effectLst/>
                <a:uLnTx/>
                <a:uFillTx/>
                <a:latin typeface="Arial"/>
                <a:ea typeface="+mn-ea"/>
                <a:cs typeface="+mn-cs"/>
              </a:rPr>
              <a:t>attention</a:t>
            </a:r>
            <a:endParaRPr kumimoji="0" lang="nb-NO" sz="4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75008088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ktangel 115">
            <a:extLst>
              <a:ext uri="{FF2B5EF4-FFF2-40B4-BE49-F238E27FC236}">
                <a16:creationId xmlns:a16="http://schemas.microsoft.com/office/drawing/2014/main" id="{9F8EC269-A1B1-486D-9189-366F6D1AABC6}"/>
              </a:ext>
            </a:extLst>
          </p:cNvPr>
          <p:cNvSpPr/>
          <p:nvPr/>
        </p:nvSpPr>
        <p:spPr>
          <a:xfrm>
            <a:off x="7614462" y="1210855"/>
            <a:ext cx="4577538" cy="4721152"/>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504000" rIns="108000" bIns="108000" rtlCol="0" anchor="t" anchorCtr="0">
            <a:noAutofit/>
          </a:bodyPr>
          <a:lstStyle/>
          <a:p>
            <a:pPr marL="0" marR="0" lvl="0" indent="0" algn="l" defTabSz="914400" rtl="0" eaLnBrk="1" fontAlgn="auto" latinLnBrk="0" hangingPunct="1">
              <a:lnSpc>
                <a:spcPct val="110000"/>
              </a:lnSpc>
              <a:spcBef>
                <a:spcPts val="0"/>
              </a:spcBef>
              <a:spcAft>
                <a:spcPts val="0"/>
              </a:spcAft>
              <a:buClrTx/>
              <a:buSzTx/>
              <a:buFontTx/>
              <a:buNone/>
              <a:tabLst>
                <a:tab pos="2422525" algn="l"/>
              </a:tabLst>
              <a:defRPr/>
            </a:pPr>
            <a:endParaRPr kumimoji="0" lang="fi-FI"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Plassholder for lysbildenummer 1">
            <a:extLst>
              <a:ext uri="{FF2B5EF4-FFF2-40B4-BE49-F238E27FC236}">
                <a16:creationId xmlns:a16="http://schemas.microsoft.com/office/drawing/2014/main" id="{F5E2EEDA-6976-4564-9542-90B78428D0D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90E5A77-D385-4CDE-8FE8-D3E3CBE93E71}"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Tittel 2">
            <a:extLst>
              <a:ext uri="{FF2B5EF4-FFF2-40B4-BE49-F238E27FC236}">
                <a16:creationId xmlns:a16="http://schemas.microsoft.com/office/drawing/2014/main" id="{B7B867F4-F3B4-4F67-AED2-A1571E36B89A}"/>
              </a:ext>
            </a:extLst>
          </p:cNvPr>
          <p:cNvSpPr>
            <a:spLocks noGrp="1"/>
          </p:cNvSpPr>
          <p:nvPr>
            <p:ph type="title"/>
          </p:nvPr>
        </p:nvSpPr>
        <p:spPr>
          <a:xfrm>
            <a:off x="203967" y="171448"/>
            <a:ext cx="11090274" cy="720502"/>
          </a:xfrm>
        </p:spPr>
        <p:txBody>
          <a:bodyPr/>
          <a:lstStyle/>
          <a:p>
            <a:r>
              <a:rPr lang="nb-NO" dirty="0"/>
              <a:t>Fortum – for a cleaner world</a:t>
            </a:r>
          </a:p>
        </p:txBody>
      </p:sp>
      <p:pic>
        <p:nvPicPr>
          <p:cNvPr id="4" name="Bilde 3">
            <a:extLst>
              <a:ext uri="{FF2B5EF4-FFF2-40B4-BE49-F238E27FC236}">
                <a16:creationId xmlns:a16="http://schemas.microsoft.com/office/drawing/2014/main" id="{82A937EB-FBC3-4B32-A5FC-D3FA70DD0DC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441162" y="1212099"/>
            <a:ext cx="2248934" cy="1440000"/>
          </a:xfrm>
          <a:prstGeom prst="rect">
            <a:avLst/>
          </a:prstGeom>
        </p:spPr>
      </p:pic>
      <p:pic>
        <p:nvPicPr>
          <p:cNvPr id="5" name="Bilde 4">
            <a:extLst>
              <a:ext uri="{FF2B5EF4-FFF2-40B4-BE49-F238E27FC236}">
                <a16:creationId xmlns:a16="http://schemas.microsoft.com/office/drawing/2014/main" id="{36840A48-C20A-4E20-906F-658AF8FB2BD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855189" y="1277647"/>
            <a:ext cx="2257627" cy="1440000"/>
          </a:xfrm>
          <a:prstGeom prst="rect">
            <a:avLst/>
          </a:prstGeom>
        </p:spPr>
      </p:pic>
      <p:pic>
        <p:nvPicPr>
          <p:cNvPr id="6" name="Bilde 5">
            <a:extLst>
              <a:ext uri="{FF2B5EF4-FFF2-40B4-BE49-F238E27FC236}">
                <a16:creationId xmlns:a16="http://schemas.microsoft.com/office/drawing/2014/main" id="{077A1DB0-5A1F-4B9D-B948-3C04EF9D99A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441162" y="2861987"/>
            <a:ext cx="2248934" cy="1440000"/>
          </a:xfrm>
          <a:prstGeom prst="rect">
            <a:avLst/>
          </a:prstGeom>
        </p:spPr>
      </p:pic>
      <p:pic>
        <p:nvPicPr>
          <p:cNvPr id="7" name="Bilde 6">
            <a:extLst>
              <a:ext uri="{FF2B5EF4-FFF2-40B4-BE49-F238E27FC236}">
                <a16:creationId xmlns:a16="http://schemas.microsoft.com/office/drawing/2014/main" id="{F93FC69D-71DE-4AA2-93D9-094D8B2EAD5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55189" y="2891520"/>
            <a:ext cx="2270489" cy="1440000"/>
          </a:xfrm>
          <a:prstGeom prst="rect">
            <a:avLst/>
          </a:prstGeom>
        </p:spPr>
      </p:pic>
      <p:pic>
        <p:nvPicPr>
          <p:cNvPr id="8" name="Bilde 7">
            <a:extLst>
              <a:ext uri="{FF2B5EF4-FFF2-40B4-BE49-F238E27FC236}">
                <a16:creationId xmlns:a16="http://schemas.microsoft.com/office/drawing/2014/main" id="{A1AE1450-234C-43FC-BE95-52913710AF7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454430" y="4644664"/>
            <a:ext cx="2248934" cy="1440000"/>
          </a:xfrm>
          <a:prstGeom prst="rect">
            <a:avLst/>
          </a:prstGeom>
        </p:spPr>
      </p:pic>
      <p:pic>
        <p:nvPicPr>
          <p:cNvPr id="9" name="Bilde 8">
            <a:extLst>
              <a:ext uri="{FF2B5EF4-FFF2-40B4-BE49-F238E27FC236}">
                <a16:creationId xmlns:a16="http://schemas.microsoft.com/office/drawing/2014/main" id="{8249F354-0117-4D4C-B62E-A061CE72BFF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855189" y="4644664"/>
            <a:ext cx="2257627" cy="1440000"/>
          </a:xfrm>
          <a:prstGeom prst="rect">
            <a:avLst/>
          </a:prstGeom>
        </p:spPr>
      </p:pic>
      <p:sp>
        <p:nvSpPr>
          <p:cNvPr id="10" name="TekstSylinder 9">
            <a:extLst>
              <a:ext uri="{FF2B5EF4-FFF2-40B4-BE49-F238E27FC236}">
                <a16:creationId xmlns:a16="http://schemas.microsoft.com/office/drawing/2014/main" id="{8F0BA993-206A-419B-99CB-D46FBAD060B7}"/>
              </a:ext>
            </a:extLst>
          </p:cNvPr>
          <p:cNvSpPr txBox="1"/>
          <p:nvPr/>
        </p:nvSpPr>
        <p:spPr>
          <a:xfrm>
            <a:off x="143312" y="1573518"/>
            <a:ext cx="1233030"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000000"/>
                </a:solidFill>
                <a:effectLst/>
                <a:uLnTx/>
                <a:uFillTx/>
                <a:latin typeface="Arial"/>
                <a:ea typeface="+mn-ea"/>
                <a:cs typeface="+mn-cs"/>
              </a:rPr>
              <a:t>Power </a:t>
            </a:r>
            <a:br>
              <a:rPr kumimoji="0" lang="nb-NO" sz="1600" b="1" i="0" u="none" strike="noStrike" kern="1200" cap="none" spc="0" normalizeH="0" baseline="0" noProof="0" dirty="0">
                <a:ln>
                  <a:noFill/>
                </a:ln>
                <a:solidFill>
                  <a:srgbClr val="000000"/>
                </a:solidFill>
                <a:effectLst/>
                <a:uLnTx/>
                <a:uFillTx/>
                <a:latin typeface="Arial"/>
                <a:ea typeface="+mn-ea"/>
                <a:cs typeface="+mn-cs"/>
              </a:rPr>
            </a:br>
            <a:r>
              <a:rPr kumimoji="0" lang="nb-NO" sz="1600" b="1" i="0" u="none" strike="noStrike" kern="1200" cap="none" spc="0" normalizeH="0" baseline="0" noProof="0" dirty="0">
                <a:ln>
                  <a:noFill/>
                </a:ln>
                <a:solidFill>
                  <a:srgbClr val="000000"/>
                </a:solidFill>
                <a:effectLst/>
                <a:uLnTx/>
                <a:uFillTx/>
                <a:latin typeface="Arial"/>
                <a:ea typeface="+mn-ea"/>
                <a:cs typeface="+mn-cs"/>
              </a:rPr>
              <a:t>generation</a:t>
            </a:r>
          </a:p>
        </p:txBody>
      </p:sp>
      <p:sp>
        <p:nvSpPr>
          <p:cNvPr id="11" name="TekstSylinder 10">
            <a:extLst>
              <a:ext uri="{FF2B5EF4-FFF2-40B4-BE49-F238E27FC236}">
                <a16:creationId xmlns:a16="http://schemas.microsoft.com/office/drawing/2014/main" id="{2996C4CD-D331-4332-9A53-BB338F450E76}"/>
              </a:ext>
            </a:extLst>
          </p:cNvPr>
          <p:cNvSpPr txBox="1"/>
          <p:nvPr/>
        </p:nvSpPr>
        <p:spPr>
          <a:xfrm>
            <a:off x="120870" y="3252772"/>
            <a:ext cx="1255472"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000000"/>
                </a:solidFill>
                <a:effectLst/>
                <a:uLnTx/>
                <a:uFillTx/>
                <a:latin typeface="Arial"/>
                <a:ea typeface="+mn-ea"/>
                <a:cs typeface="+mn-cs"/>
              </a:rPr>
              <a:t>Consumer </a:t>
            </a:r>
            <a:br>
              <a:rPr kumimoji="0" lang="nb-NO" sz="1600" b="1" i="0" u="none" strike="noStrike" kern="1200" cap="none" spc="0" normalizeH="0" baseline="0" noProof="0" dirty="0">
                <a:ln>
                  <a:noFill/>
                </a:ln>
                <a:solidFill>
                  <a:srgbClr val="000000"/>
                </a:solidFill>
                <a:effectLst/>
                <a:uLnTx/>
                <a:uFillTx/>
                <a:latin typeface="Arial"/>
                <a:ea typeface="+mn-ea"/>
                <a:cs typeface="+mn-cs"/>
              </a:rPr>
            </a:br>
            <a:r>
              <a:rPr kumimoji="0" lang="nb-NO" sz="1600" b="1" i="0" u="none" strike="noStrike" kern="1200" cap="none" spc="0" normalizeH="0" baseline="0" noProof="0" dirty="0">
                <a:ln>
                  <a:noFill/>
                </a:ln>
                <a:solidFill>
                  <a:srgbClr val="000000"/>
                </a:solidFill>
                <a:effectLst/>
                <a:uLnTx/>
                <a:uFillTx/>
                <a:latin typeface="Arial"/>
                <a:ea typeface="+mn-ea"/>
                <a:cs typeface="+mn-cs"/>
              </a:rPr>
              <a:t>solutions</a:t>
            </a:r>
          </a:p>
        </p:txBody>
      </p:sp>
      <p:sp>
        <p:nvSpPr>
          <p:cNvPr id="12" name="TekstSylinder 11">
            <a:extLst>
              <a:ext uri="{FF2B5EF4-FFF2-40B4-BE49-F238E27FC236}">
                <a16:creationId xmlns:a16="http://schemas.microsoft.com/office/drawing/2014/main" id="{16531678-EF4C-4752-880D-43D06E40E5B1}"/>
              </a:ext>
            </a:extLst>
          </p:cNvPr>
          <p:cNvSpPr txBox="1"/>
          <p:nvPr/>
        </p:nvSpPr>
        <p:spPr>
          <a:xfrm>
            <a:off x="-959554" y="4852028"/>
            <a:ext cx="2335896"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000000"/>
                </a:solidFill>
                <a:effectLst/>
                <a:uLnTx/>
                <a:uFillTx/>
                <a:latin typeface="Arial"/>
                <a:ea typeface="+mn-ea"/>
                <a:cs typeface="+mn-cs"/>
              </a:rPr>
              <a:t>Technology </a:t>
            </a:r>
            <a:br>
              <a:rPr kumimoji="0" lang="nb-NO" sz="1600" b="1" i="0" u="none" strike="noStrike" kern="1200" cap="none" spc="0" normalizeH="0" baseline="0" noProof="0" dirty="0">
                <a:ln>
                  <a:noFill/>
                </a:ln>
                <a:solidFill>
                  <a:srgbClr val="000000"/>
                </a:solidFill>
                <a:effectLst/>
                <a:uLnTx/>
                <a:uFillTx/>
                <a:latin typeface="Arial"/>
                <a:ea typeface="+mn-ea"/>
                <a:cs typeface="+mn-cs"/>
              </a:rPr>
            </a:br>
            <a:r>
              <a:rPr kumimoji="0" lang="nb-NO" sz="1600" b="1" i="0" u="none" strike="noStrike" kern="1200" cap="none" spc="0" normalizeH="0" baseline="0" noProof="0" dirty="0">
                <a:ln>
                  <a:noFill/>
                </a:ln>
                <a:solidFill>
                  <a:srgbClr val="000000"/>
                </a:solidFill>
                <a:effectLst/>
                <a:uLnTx/>
                <a:uFillTx/>
                <a:latin typeface="Arial"/>
                <a:ea typeface="+mn-ea"/>
                <a:cs typeface="+mn-cs"/>
              </a:rPr>
              <a:t>and </a:t>
            </a:r>
            <a:br>
              <a:rPr kumimoji="0" lang="nb-NO" sz="1600" b="1" i="0" u="none" strike="noStrike" kern="1200" cap="none" spc="0" normalizeH="0" baseline="0" noProof="0" dirty="0">
                <a:ln>
                  <a:noFill/>
                </a:ln>
                <a:solidFill>
                  <a:srgbClr val="000000"/>
                </a:solidFill>
                <a:effectLst/>
                <a:uLnTx/>
                <a:uFillTx/>
                <a:latin typeface="Arial"/>
                <a:ea typeface="+mn-ea"/>
                <a:cs typeface="+mn-cs"/>
              </a:rPr>
            </a:br>
            <a:r>
              <a:rPr kumimoji="0" lang="nb-NO" sz="1600" b="1" i="0" u="none" strike="noStrike" kern="1200" cap="none" spc="0" normalizeH="0" baseline="0" noProof="0" dirty="0">
                <a:ln>
                  <a:noFill/>
                </a:ln>
                <a:solidFill>
                  <a:srgbClr val="000000"/>
                </a:solidFill>
                <a:effectLst/>
                <a:uLnTx/>
                <a:uFillTx/>
                <a:latin typeface="Arial"/>
                <a:ea typeface="+mn-ea"/>
                <a:cs typeface="+mn-cs"/>
              </a:rPr>
              <a:t>New Ventures</a:t>
            </a:r>
          </a:p>
        </p:txBody>
      </p:sp>
      <p:sp>
        <p:nvSpPr>
          <p:cNvPr id="13" name="TekstSylinder 12">
            <a:extLst>
              <a:ext uri="{FF2B5EF4-FFF2-40B4-BE49-F238E27FC236}">
                <a16:creationId xmlns:a16="http://schemas.microsoft.com/office/drawing/2014/main" id="{EB9E688F-4AAC-4B59-85C4-8DBD5259E6FD}"/>
              </a:ext>
            </a:extLst>
          </p:cNvPr>
          <p:cNvSpPr txBox="1"/>
          <p:nvPr/>
        </p:nvSpPr>
        <p:spPr>
          <a:xfrm>
            <a:off x="6149766" y="1732211"/>
            <a:ext cx="1119217"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000000"/>
                </a:solidFill>
                <a:effectLst/>
                <a:uLnTx/>
                <a:uFillTx/>
                <a:latin typeface="Arial"/>
                <a:ea typeface="+mn-ea"/>
                <a:cs typeface="+mn-cs"/>
              </a:rPr>
              <a:t>City </a:t>
            </a:r>
            <a:br>
              <a:rPr kumimoji="0" lang="nb-NO" sz="1600" b="1" i="0" u="none" strike="noStrike" kern="1200" cap="none" spc="0" normalizeH="0" baseline="0" noProof="0" dirty="0">
                <a:ln>
                  <a:noFill/>
                </a:ln>
                <a:solidFill>
                  <a:srgbClr val="000000"/>
                </a:solidFill>
                <a:effectLst/>
                <a:uLnTx/>
                <a:uFillTx/>
                <a:latin typeface="Arial"/>
                <a:ea typeface="+mn-ea"/>
                <a:cs typeface="+mn-cs"/>
              </a:rPr>
            </a:br>
            <a:r>
              <a:rPr kumimoji="0" lang="nb-NO" sz="1600" b="1" i="0" u="none" strike="noStrike" kern="1200" cap="none" spc="0" normalizeH="0" baseline="0" noProof="0" dirty="0">
                <a:ln>
                  <a:noFill/>
                </a:ln>
                <a:solidFill>
                  <a:srgbClr val="000000"/>
                </a:solidFill>
                <a:effectLst/>
                <a:uLnTx/>
                <a:uFillTx/>
                <a:latin typeface="Arial"/>
                <a:ea typeface="+mn-ea"/>
                <a:cs typeface="+mn-cs"/>
              </a:rPr>
              <a:t>Solutions</a:t>
            </a:r>
          </a:p>
        </p:txBody>
      </p:sp>
      <p:sp>
        <p:nvSpPr>
          <p:cNvPr id="14" name="TekstSylinder 13">
            <a:extLst>
              <a:ext uri="{FF2B5EF4-FFF2-40B4-BE49-F238E27FC236}">
                <a16:creationId xmlns:a16="http://schemas.microsoft.com/office/drawing/2014/main" id="{13790567-7324-40D5-A9E4-C6D567670B14}"/>
              </a:ext>
            </a:extLst>
          </p:cNvPr>
          <p:cNvSpPr txBox="1"/>
          <p:nvPr/>
        </p:nvSpPr>
        <p:spPr>
          <a:xfrm>
            <a:off x="6207219" y="3411465"/>
            <a:ext cx="85632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000000"/>
                </a:solidFill>
                <a:effectLst/>
                <a:uLnTx/>
                <a:uFillTx/>
                <a:latin typeface="Arial"/>
                <a:ea typeface="+mn-ea"/>
                <a:cs typeface="+mn-cs"/>
              </a:rPr>
              <a:t>Russia</a:t>
            </a:r>
          </a:p>
        </p:txBody>
      </p:sp>
      <p:sp>
        <p:nvSpPr>
          <p:cNvPr id="15" name="TekstSylinder 14">
            <a:extLst>
              <a:ext uri="{FF2B5EF4-FFF2-40B4-BE49-F238E27FC236}">
                <a16:creationId xmlns:a16="http://schemas.microsoft.com/office/drawing/2014/main" id="{85BBFD16-0E0F-4E46-9471-4D42944DE102}"/>
              </a:ext>
            </a:extLst>
          </p:cNvPr>
          <p:cNvSpPr txBox="1"/>
          <p:nvPr/>
        </p:nvSpPr>
        <p:spPr>
          <a:xfrm>
            <a:off x="6115620" y="4594918"/>
            <a:ext cx="282643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Solar and </a:t>
            </a:r>
            <a:br>
              <a:rPr kumimoji="0" lang="en-US" sz="1600" b="1" i="0" u="none" strike="noStrike" kern="1200" cap="none" spc="0" normalizeH="0" baseline="0" noProof="0" dirty="0">
                <a:ln>
                  <a:noFill/>
                </a:ln>
                <a:solidFill>
                  <a:srgbClr val="000000"/>
                </a:solidFill>
                <a:effectLst/>
                <a:uLnTx/>
                <a:uFillTx/>
                <a:latin typeface="Arial"/>
                <a:ea typeface="+mn-ea"/>
                <a:cs typeface="+mn-cs"/>
              </a:rPr>
            </a:br>
            <a:r>
              <a:rPr kumimoji="0" lang="en-US" sz="1600" b="1" i="0" u="none" strike="noStrike" kern="1200" cap="none" spc="0" normalizeH="0" baseline="0" noProof="0" dirty="0">
                <a:ln>
                  <a:noFill/>
                </a:ln>
                <a:solidFill>
                  <a:srgbClr val="000000"/>
                </a:solidFill>
                <a:effectLst/>
                <a:uLnTx/>
                <a:uFillTx/>
                <a:latin typeface="Arial"/>
                <a:ea typeface="+mn-ea"/>
                <a:cs typeface="+mn-cs"/>
              </a:rPr>
              <a:t>Wind </a:t>
            </a:r>
            <a:br>
              <a:rPr kumimoji="0" lang="en-US" sz="1600" b="1" i="0" u="none" strike="noStrike" kern="1200" cap="none" spc="0" normalizeH="0" baseline="0" noProof="0" dirty="0">
                <a:ln>
                  <a:noFill/>
                </a:ln>
                <a:solidFill>
                  <a:srgbClr val="000000"/>
                </a:solidFill>
                <a:effectLst/>
                <a:uLnTx/>
                <a:uFillTx/>
                <a:latin typeface="Arial"/>
                <a:ea typeface="+mn-ea"/>
                <a:cs typeface="+mn-cs"/>
              </a:rPr>
            </a:br>
            <a:r>
              <a:rPr kumimoji="0" lang="en-US" sz="1600" b="1" i="0" u="none" strike="noStrike" kern="1200" cap="none" spc="0" normalizeH="0" baseline="0" noProof="0" dirty="0">
                <a:ln>
                  <a:noFill/>
                </a:ln>
                <a:solidFill>
                  <a:srgbClr val="000000"/>
                </a:solidFill>
                <a:effectLst/>
                <a:uLnTx/>
                <a:uFillTx/>
                <a:latin typeface="Arial"/>
                <a:ea typeface="+mn-ea"/>
                <a:cs typeface="+mn-cs"/>
              </a:rPr>
              <a:t>Development</a:t>
            </a:r>
            <a:endParaRPr kumimoji="0" lang="nb-NO"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22" name="Rectangle 64">
            <a:extLst>
              <a:ext uri="{FF2B5EF4-FFF2-40B4-BE49-F238E27FC236}">
                <a16:creationId xmlns:a16="http://schemas.microsoft.com/office/drawing/2014/main" id="{F6AE22B3-5765-487B-8326-32167DCF3193}"/>
              </a:ext>
            </a:extLst>
          </p:cNvPr>
          <p:cNvSpPr>
            <a:spLocks noChangeArrowheads="1"/>
          </p:cNvSpPr>
          <p:nvPr/>
        </p:nvSpPr>
        <p:spPr bwMode="auto">
          <a:xfrm>
            <a:off x="7789081" y="1210855"/>
            <a:ext cx="4409354" cy="1379964"/>
          </a:xfrm>
          <a:prstGeom prst="rect">
            <a:avLst/>
          </a:prstGeom>
          <a:noFill/>
          <a:ln>
            <a:noFill/>
          </a:ln>
        </p:spPr>
        <p:txBody>
          <a:bodyPr wrap="square" lIns="74266" tIns="37133" rIns="74266" bIns="37133">
            <a:spAutoFit/>
          </a:bodyPr>
          <a:lstStyle/>
          <a:p>
            <a:pPr marL="0" marR="0" lvl="0" indent="0" algn="l" defTabSz="914400" rtl="0" eaLnBrk="1" fontAlgn="auto" latinLnBrk="0" hangingPunct="1">
              <a:lnSpc>
                <a:spcPct val="100000"/>
              </a:lnSpc>
              <a:spcBef>
                <a:spcPct val="20000"/>
              </a:spcBef>
              <a:spcAft>
                <a:spcPts val="0"/>
              </a:spcAft>
              <a:buClrTx/>
              <a:buSzTx/>
              <a:buFontTx/>
              <a:buNone/>
              <a:tabLst>
                <a:tab pos="2155825" algn="r"/>
              </a:tabLst>
              <a:defRPr/>
            </a:pPr>
            <a:r>
              <a:rPr kumimoji="0" lang="en-GB" sz="2000" b="1" i="0" u="none" strike="noStrike" kern="1200" cap="none" spc="0" normalizeH="0" baseline="0" noProof="0" dirty="0">
                <a:ln>
                  <a:noFill/>
                </a:ln>
                <a:solidFill>
                  <a:srgbClr val="78A0D4"/>
                </a:solidFill>
                <a:effectLst/>
                <a:uLnTx/>
                <a:uFillTx/>
                <a:latin typeface="Arial"/>
                <a:ea typeface="ＭＳ Ｐゴシック" charset="-128"/>
                <a:cs typeface="Arial" charset="0"/>
              </a:rPr>
              <a:t>Nordic countries</a:t>
            </a:r>
          </a:p>
          <a:p>
            <a:pPr marL="0" marR="0" lvl="0" indent="0" algn="l" defTabSz="914400" rtl="0" eaLnBrk="1" fontAlgn="auto" latinLnBrk="0" hangingPunct="1">
              <a:lnSpc>
                <a:spcPct val="100000"/>
              </a:lnSpc>
              <a:spcBef>
                <a:spcPct val="20000"/>
              </a:spcBef>
              <a:spcAft>
                <a:spcPts val="0"/>
              </a:spcAft>
              <a:buClrTx/>
              <a:buSzTx/>
              <a:buFontTx/>
              <a:buNone/>
              <a:tabLst>
                <a:tab pos="2155825" algn="r"/>
              </a:tabLst>
              <a:defRPr/>
            </a:pPr>
            <a:r>
              <a:rPr kumimoji="0" lang="en-GB" sz="1800" b="0" i="0" u="none" strike="noStrike" kern="1200" cap="none" spc="0" normalizeH="0" baseline="0" noProof="0" dirty="0">
                <a:ln>
                  <a:noFill/>
                </a:ln>
                <a:solidFill>
                  <a:srgbClr val="000000"/>
                </a:solidFill>
                <a:effectLst/>
                <a:uLnTx/>
                <a:uFillTx/>
                <a:latin typeface="Arial"/>
                <a:ea typeface="ＭＳ Ｐゴシック" charset="-128"/>
                <a:cs typeface="Arial" charset="0"/>
              </a:rPr>
              <a:t>Power generation	 	45.4 </a:t>
            </a:r>
            <a:r>
              <a:rPr kumimoji="0" lang="en-GB" sz="1800" b="0" i="0" u="none" strike="noStrike" kern="1200" cap="none" spc="0" normalizeH="0" baseline="0" noProof="1">
                <a:ln>
                  <a:noFill/>
                </a:ln>
                <a:solidFill>
                  <a:srgbClr val="000000"/>
                </a:solidFill>
                <a:effectLst/>
                <a:uLnTx/>
                <a:uFillTx/>
                <a:latin typeface="Arial"/>
                <a:ea typeface="ＭＳ Ｐゴシック" charset="-128"/>
                <a:cs typeface="Arial" charset="0"/>
              </a:rPr>
              <a:t>TWh</a:t>
            </a:r>
          </a:p>
          <a:p>
            <a:pPr marL="0" marR="0" lvl="0" indent="0" algn="l" defTabSz="914400" rtl="0" eaLnBrk="1" fontAlgn="auto" latinLnBrk="0" hangingPunct="1">
              <a:lnSpc>
                <a:spcPct val="100000"/>
              </a:lnSpc>
              <a:spcBef>
                <a:spcPct val="20000"/>
              </a:spcBef>
              <a:spcAft>
                <a:spcPts val="0"/>
              </a:spcAft>
              <a:buClrTx/>
              <a:buSzTx/>
              <a:buFontTx/>
              <a:buNone/>
              <a:tabLst>
                <a:tab pos="2155825" algn="r"/>
              </a:tabLst>
              <a:defRPr/>
            </a:pPr>
            <a:r>
              <a:rPr kumimoji="0" lang="en-GB" sz="1800" b="0" i="0" u="none" strike="noStrike" kern="1200" cap="none" spc="0" normalizeH="0" baseline="0" noProof="0" dirty="0">
                <a:ln>
                  <a:noFill/>
                </a:ln>
                <a:solidFill>
                  <a:srgbClr val="000000"/>
                </a:solidFill>
                <a:effectLst/>
                <a:uLnTx/>
                <a:uFillTx/>
                <a:latin typeface="Arial"/>
                <a:ea typeface="ＭＳ Ｐゴシック" charset="-128"/>
                <a:cs typeface="Arial" charset="0"/>
              </a:rPr>
              <a:t>Heat sales 	 	5.0 </a:t>
            </a:r>
            <a:r>
              <a:rPr kumimoji="0" lang="en-GB" sz="1800" b="0" i="0" u="none" strike="noStrike" kern="1200" cap="none" spc="0" normalizeH="0" baseline="0" noProof="1">
                <a:ln>
                  <a:noFill/>
                </a:ln>
                <a:solidFill>
                  <a:srgbClr val="000000"/>
                </a:solidFill>
                <a:effectLst/>
                <a:uLnTx/>
                <a:uFillTx/>
                <a:latin typeface="Arial"/>
                <a:ea typeface="ＭＳ Ｐゴシック" charset="-128"/>
                <a:cs typeface="Arial" charset="0"/>
              </a:rPr>
              <a:t>TWh</a:t>
            </a:r>
          </a:p>
          <a:p>
            <a:pPr marL="0" marR="0" lvl="0" indent="0" algn="l" defTabSz="914400" rtl="0" eaLnBrk="1" fontAlgn="auto" latinLnBrk="0" hangingPunct="1">
              <a:lnSpc>
                <a:spcPct val="100000"/>
              </a:lnSpc>
              <a:spcBef>
                <a:spcPct val="20000"/>
              </a:spcBef>
              <a:spcAft>
                <a:spcPts val="0"/>
              </a:spcAft>
              <a:buClrTx/>
              <a:buSzTx/>
              <a:buFontTx/>
              <a:buNone/>
              <a:tabLst>
                <a:tab pos="2155825" algn="r"/>
              </a:tabLst>
              <a:defRPr/>
            </a:pPr>
            <a:r>
              <a:rPr kumimoji="0" lang="en-GB" sz="1800" b="0" i="0" u="none" strike="noStrike" kern="1200" cap="none" spc="0" normalizeH="0" baseline="0" noProof="0" dirty="0">
                <a:ln>
                  <a:noFill/>
                </a:ln>
                <a:solidFill>
                  <a:srgbClr val="000000"/>
                </a:solidFill>
                <a:effectLst/>
                <a:uLnTx/>
                <a:uFillTx/>
                <a:latin typeface="Arial"/>
                <a:ea typeface="ＭＳ Ｐゴシック" charset="-128"/>
                <a:cs typeface="Arial" charset="0"/>
              </a:rPr>
              <a:t>Electricity customers</a:t>
            </a:r>
            <a:r>
              <a:rPr kumimoji="0" lang="en-GB" sz="1600" b="0" i="0" u="none" strike="noStrike" kern="1200" cap="none" spc="0" normalizeH="0" baseline="0" noProof="0" dirty="0">
                <a:ln>
                  <a:noFill/>
                </a:ln>
                <a:solidFill>
                  <a:srgbClr val="000000"/>
                </a:solidFill>
                <a:effectLst/>
                <a:uLnTx/>
                <a:uFillTx/>
                <a:latin typeface="Arial"/>
                <a:ea typeface="ＭＳ Ｐゴシック" charset="-128"/>
                <a:cs typeface="Arial" charset="0"/>
              </a:rPr>
              <a:t> </a:t>
            </a:r>
            <a:r>
              <a:rPr kumimoji="0" lang="en-GB" sz="1400" b="0" i="0" u="none" strike="noStrike" kern="1200" cap="none" spc="0" normalizeH="0" baseline="0" noProof="0" dirty="0">
                <a:ln>
                  <a:noFill/>
                </a:ln>
                <a:solidFill>
                  <a:srgbClr val="000000"/>
                </a:solidFill>
                <a:effectLst/>
                <a:uLnTx/>
                <a:uFillTx/>
                <a:latin typeface="Arial"/>
                <a:ea typeface="ＭＳ Ｐゴシック" charset="-128"/>
                <a:cs typeface="Arial" charset="0"/>
              </a:rPr>
              <a:t>	 	</a:t>
            </a:r>
            <a:r>
              <a:rPr kumimoji="0" lang="en-GB" sz="1800" b="0" i="0" u="none" strike="noStrike" kern="1200" cap="none" spc="0" normalizeH="0" baseline="0" noProof="0" dirty="0">
                <a:ln>
                  <a:noFill/>
                </a:ln>
                <a:solidFill>
                  <a:srgbClr val="000000"/>
                </a:solidFill>
                <a:effectLst/>
                <a:uLnTx/>
                <a:uFillTx/>
                <a:latin typeface="Arial"/>
                <a:ea typeface="ＭＳ Ｐゴシック" charset="-128"/>
                <a:cs typeface="Arial" charset="0"/>
              </a:rPr>
              <a:t>2.4 million</a:t>
            </a:r>
            <a:endParaRPr kumimoji="0" lang="en-GB" sz="1200" b="0" i="0" u="none" strike="noStrike" kern="1200" cap="none" spc="0" normalizeH="0" baseline="0" noProof="0" dirty="0">
              <a:ln>
                <a:noFill/>
              </a:ln>
              <a:solidFill>
                <a:srgbClr val="000000"/>
              </a:solidFill>
              <a:effectLst/>
              <a:uLnTx/>
              <a:uFillTx/>
              <a:latin typeface="Arial"/>
              <a:ea typeface="ＭＳ Ｐゴシック" charset="-128"/>
              <a:cs typeface="Arial" charset="0"/>
            </a:endParaRPr>
          </a:p>
        </p:txBody>
      </p:sp>
      <p:sp>
        <p:nvSpPr>
          <p:cNvPr id="23" name="Rectangle 87">
            <a:extLst>
              <a:ext uri="{FF2B5EF4-FFF2-40B4-BE49-F238E27FC236}">
                <a16:creationId xmlns:a16="http://schemas.microsoft.com/office/drawing/2014/main" id="{859FB335-BB92-4CA8-B1D6-91D1C31F389C}"/>
              </a:ext>
            </a:extLst>
          </p:cNvPr>
          <p:cNvSpPr>
            <a:spLocks noChangeArrowheads="1"/>
          </p:cNvSpPr>
          <p:nvPr/>
        </p:nvSpPr>
        <p:spPr bwMode="auto">
          <a:xfrm>
            <a:off x="7864464" y="3889209"/>
            <a:ext cx="3916078" cy="936766"/>
          </a:xfrm>
          <a:prstGeom prst="rect">
            <a:avLst/>
          </a:prstGeom>
          <a:noFill/>
          <a:ln>
            <a:noFill/>
          </a:ln>
        </p:spPr>
        <p:txBody>
          <a:bodyPr wrap="none" lIns="74266" tIns="37133" rIns="74266" bIns="37133">
            <a:spAutoFit/>
          </a:bodyPr>
          <a:lstStyle/>
          <a:p>
            <a:pPr marL="0" marR="0" lvl="0" indent="0" algn="l" defTabSz="914400" rtl="0" eaLnBrk="1" fontAlgn="auto" latinLnBrk="0" hangingPunct="1">
              <a:lnSpc>
                <a:spcPct val="100000"/>
              </a:lnSpc>
              <a:spcBef>
                <a:spcPts val="0"/>
              </a:spcBef>
              <a:spcAft>
                <a:spcPts val="0"/>
              </a:spcAft>
              <a:buClrTx/>
              <a:buSzTx/>
              <a:buFontTx/>
              <a:buNone/>
              <a:tabLst>
                <a:tab pos="2152650" algn="r"/>
              </a:tabLst>
              <a:defRPr/>
            </a:pPr>
            <a:r>
              <a:rPr kumimoji="0" lang="en-GB" sz="2000" b="1" i="0" u="none" strike="noStrike" kern="1200" cap="none" spc="0" normalizeH="0" baseline="0" noProof="0" dirty="0">
                <a:ln>
                  <a:noFill/>
                </a:ln>
                <a:solidFill>
                  <a:srgbClr val="78A0D4"/>
                </a:solidFill>
                <a:effectLst/>
                <a:uLnTx/>
                <a:uFillTx/>
                <a:latin typeface="Arial"/>
                <a:ea typeface="MS PGothic" pitchFamily="34" charset="-128"/>
                <a:cs typeface="+mn-cs"/>
              </a:rPr>
              <a:t>Russia (</a:t>
            </a:r>
            <a:r>
              <a:rPr kumimoji="0" lang="en-GB" sz="2000" b="1" i="0" u="none" strike="noStrike" kern="1200" cap="none" spc="0" normalizeH="0" baseline="0" noProof="0" dirty="0">
                <a:ln>
                  <a:noFill/>
                </a:ln>
                <a:solidFill>
                  <a:srgbClr val="78A0D4"/>
                </a:solidFill>
                <a:effectLst/>
                <a:uLnTx/>
                <a:uFillTx/>
                <a:latin typeface="Arial"/>
                <a:ea typeface="ＭＳ Ｐゴシック" charset="-128"/>
                <a:cs typeface="Arial" charset="0"/>
              </a:rPr>
              <a:t>PAO Fortum)</a:t>
            </a:r>
          </a:p>
          <a:p>
            <a:pPr marL="0" marR="0" lvl="0" indent="0" algn="l" defTabSz="914400" rtl="0" eaLnBrk="1" fontAlgn="auto" latinLnBrk="0" hangingPunct="1">
              <a:lnSpc>
                <a:spcPct val="100000"/>
              </a:lnSpc>
              <a:spcBef>
                <a:spcPts val="0"/>
              </a:spcBef>
              <a:spcAft>
                <a:spcPts val="0"/>
              </a:spcAft>
              <a:buClrTx/>
              <a:buSzTx/>
              <a:buFontTx/>
              <a:buNone/>
              <a:tabLst>
                <a:tab pos="2152650" algn="r"/>
              </a:tabLst>
              <a:defRPr/>
            </a:pPr>
            <a:r>
              <a:rPr kumimoji="0" lang="en-GB" sz="1800" b="0" i="0" u="none" strike="noStrike" kern="1200" cap="none" spc="0" normalizeH="0" baseline="0" noProof="0" dirty="0">
                <a:ln>
                  <a:noFill/>
                </a:ln>
                <a:solidFill>
                  <a:srgbClr val="000000"/>
                </a:solidFill>
                <a:effectLst/>
                <a:uLnTx/>
                <a:uFillTx/>
                <a:latin typeface="Arial"/>
                <a:ea typeface="ＭＳ Ｐゴシック" charset="-128"/>
                <a:cs typeface="Arial" charset="0"/>
              </a:rPr>
              <a:t>Power generation 		26.3 </a:t>
            </a:r>
            <a:r>
              <a:rPr kumimoji="0" lang="en-GB" sz="1800" b="0" i="0" u="none" strike="noStrike" kern="1200" cap="none" spc="0" normalizeH="0" baseline="0" noProof="1">
                <a:ln>
                  <a:noFill/>
                </a:ln>
                <a:solidFill>
                  <a:srgbClr val="000000"/>
                </a:solidFill>
                <a:effectLst/>
                <a:uLnTx/>
                <a:uFillTx/>
                <a:latin typeface="Arial"/>
                <a:ea typeface="ＭＳ Ｐゴシック" charset="-128"/>
                <a:cs typeface="Arial" charset="0"/>
              </a:rPr>
              <a:t>TWh</a:t>
            </a:r>
          </a:p>
          <a:p>
            <a:pPr marL="0" marR="0" lvl="0" indent="0" algn="l" defTabSz="914400" rtl="0" eaLnBrk="1" fontAlgn="auto" latinLnBrk="0" hangingPunct="1">
              <a:lnSpc>
                <a:spcPct val="100000"/>
              </a:lnSpc>
              <a:spcBef>
                <a:spcPts val="0"/>
              </a:spcBef>
              <a:spcAft>
                <a:spcPts val="0"/>
              </a:spcAft>
              <a:buClrTx/>
              <a:buSzTx/>
              <a:buFontTx/>
              <a:buNone/>
              <a:tabLst>
                <a:tab pos="2152650" algn="r"/>
              </a:tabLst>
              <a:defRPr/>
            </a:pPr>
            <a:r>
              <a:rPr kumimoji="0" lang="en-GB" sz="1800" b="0" i="0" u="none" strike="noStrike" kern="1200" cap="none" spc="0" normalizeH="0" baseline="0" noProof="0" dirty="0">
                <a:ln>
                  <a:noFill/>
                </a:ln>
                <a:solidFill>
                  <a:srgbClr val="000000"/>
                </a:solidFill>
                <a:effectLst/>
                <a:uLnTx/>
                <a:uFillTx/>
                <a:latin typeface="Arial"/>
                <a:ea typeface="ＭＳ Ｐゴシック" charset="-128"/>
                <a:cs typeface="Arial" charset="0"/>
              </a:rPr>
              <a:t>Heat sales 		19.8 </a:t>
            </a:r>
            <a:r>
              <a:rPr kumimoji="0" lang="en-GB" sz="1800" b="0" i="0" u="none" strike="noStrike" kern="1200" cap="none" spc="0" normalizeH="0" baseline="0" noProof="1">
                <a:ln>
                  <a:noFill/>
                </a:ln>
                <a:solidFill>
                  <a:srgbClr val="000000"/>
                </a:solidFill>
                <a:effectLst/>
                <a:uLnTx/>
                <a:uFillTx/>
                <a:latin typeface="Arial"/>
                <a:ea typeface="ＭＳ Ｐゴシック" charset="-128"/>
                <a:cs typeface="Arial" charset="0"/>
              </a:rPr>
              <a:t>TWh</a:t>
            </a:r>
            <a:endParaRPr kumimoji="0" lang="en-GB" sz="1200" b="0" i="0" u="none" strike="noStrike" kern="1200" cap="none" spc="0" normalizeH="0" baseline="0" noProof="1">
              <a:ln>
                <a:noFill/>
              </a:ln>
              <a:solidFill>
                <a:srgbClr val="000000"/>
              </a:solidFill>
              <a:effectLst/>
              <a:uLnTx/>
              <a:uFillTx/>
              <a:latin typeface="Arial"/>
              <a:ea typeface="ＭＳ Ｐゴシック" charset="-128"/>
              <a:cs typeface="Arial" charset="0"/>
            </a:endParaRPr>
          </a:p>
        </p:txBody>
      </p:sp>
      <p:sp>
        <p:nvSpPr>
          <p:cNvPr id="24" name="Rectangle 64">
            <a:extLst>
              <a:ext uri="{FF2B5EF4-FFF2-40B4-BE49-F238E27FC236}">
                <a16:creationId xmlns:a16="http://schemas.microsoft.com/office/drawing/2014/main" id="{349637FA-3777-44D8-9171-A89089EF723E}"/>
              </a:ext>
            </a:extLst>
          </p:cNvPr>
          <p:cNvSpPr>
            <a:spLocks noChangeArrowheads="1"/>
          </p:cNvSpPr>
          <p:nvPr/>
        </p:nvSpPr>
        <p:spPr bwMode="auto">
          <a:xfrm>
            <a:off x="7867157" y="2723023"/>
            <a:ext cx="3787838" cy="936766"/>
          </a:xfrm>
          <a:prstGeom prst="rect">
            <a:avLst/>
          </a:prstGeom>
          <a:noFill/>
          <a:ln>
            <a:noFill/>
          </a:ln>
        </p:spPr>
        <p:txBody>
          <a:bodyPr wrap="none" lIns="74266" tIns="37133" rIns="74266" bIns="37133">
            <a:spAutoFit/>
          </a:bodyPr>
          <a:lstStyle/>
          <a:p>
            <a:pPr marL="0" marR="0" lvl="0" indent="0" algn="l" defTabSz="914400" rtl="0" eaLnBrk="1" fontAlgn="auto" latinLnBrk="0" hangingPunct="1">
              <a:lnSpc>
                <a:spcPct val="100000"/>
              </a:lnSpc>
              <a:spcBef>
                <a:spcPct val="20000"/>
              </a:spcBef>
              <a:spcAft>
                <a:spcPts val="0"/>
              </a:spcAft>
              <a:buClrTx/>
              <a:buSzTx/>
              <a:buFontTx/>
              <a:buNone/>
              <a:tabLst>
                <a:tab pos="2152650" algn="r"/>
              </a:tabLst>
              <a:defRPr/>
            </a:pPr>
            <a:r>
              <a:rPr kumimoji="0" lang="en-GB" sz="2000" b="1" i="0" u="none" strike="noStrike" kern="1200" cap="none" spc="0" normalizeH="0" baseline="0" noProof="0" dirty="0">
                <a:ln>
                  <a:noFill/>
                </a:ln>
                <a:solidFill>
                  <a:srgbClr val="78A0D4"/>
                </a:solidFill>
                <a:effectLst/>
                <a:uLnTx/>
                <a:uFillTx/>
                <a:latin typeface="Arial"/>
                <a:ea typeface="ＭＳ Ｐゴシック" charset="-128"/>
                <a:cs typeface="Arial" charset="0"/>
              </a:rPr>
              <a:t>Poland</a:t>
            </a:r>
          </a:p>
          <a:p>
            <a:pPr marL="0" marR="0" lvl="0" indent="0" algn="l" defTabSz="914400" rtl="0" eaLnBrk="1" fontAlgn="auto" latinLnBrk="0" hangingPunct="1">
              <a:lnSpc>
                <a:spcPct val="100000"/>
              </a:lnSpc>
              <a:spcBef>
                <a:spcPts val="0"/>
              </a:spcBef>
              <a:spcAft>
                <a:spcPts val="0"/>
              </a:spcAft>
              <a:buClrTx/>
              <a:buSzTx/>
              <a:buFontTx/>
              <a:buNone/>
              <a:tabLst>
                <a:tab pos="2152650" algn="r"/>
              </a:tabLst>
              <a:defRPr/>
            </a:pPr>
            <a:r>
              <a:rPr kumimoji="0" lang="en-GB" sz="1800" b="0" i="0" u="none" strike="noStrike" kern="1200" cap="none" spc="0" normalizeH="0" baseline="0" noProof="0" dirty="0">
                <a:ln>
                  <a:noFill/>
                </a:ln>
                <a:solidFill>
                  <a:srgbClr val="000000"/>
                </a:solidFill>
                <a:effectLst/>
                <a:uLnTx/>
                <a:uFillTx/>
                <a:latin typeface="Arial"/>
                <a:ea typeface="ＭＳ Ｐゴシック" charset="-128"/>
                <a:cs typeface="Arial" charset="0"/>
              </a:rPr>
              <a:t>Power generation 		0.5 </a:t>
            </a:r>
            <a:r>
              <a:rPr kumimoji="0" lang="en-GB" sz="1800" b="0" i="0" u="none" strike="noStrike" kern="1200" cap="none" spc="0" normalizeH="0" baseline="0" noProof="1">
                <a:ln>
                  <a:noFill/>
                </a:ln>
                <a:solidFill>
                  <a:srgbClr val="000000"/>
                </a:solidFill>
                <a:effectLst/>
                <a:uLnTx/>
                <a:uFillTx/>
                <a:latin typeface="Arial"/>
                <a:ea typeface="ＭＳ Ｐゴシック" charset="-128"/>
                <a:cs typeface="Arial" charset="0"/>
              </a:rPr>
              <a:t>TWh</a:t>
            </a:r>
          </a:p>
          <a:p>
            <a:pPr marL="0" marR="0" lvl="0" indent="0" algn="l" defTabSz="914400" rtl="0" eaLnBrk="1" fontAlgn="auto" latinLnBrk="0" hangingPunct="1">
              <a:lnSpc>
                <a:spcPct val="100000"/>
              </a:lnSpc>
              <a:spcBef>
                <a:spcPts val="0"/>
              </a:spcBef>
              <a:spcAft>
                <a:spcPts val="0"/>
              </a:spcAft>
              <a:buClrTx/>
              <a:buSzTx/>
              <a:buFontTx/>
              <a:buNone/>
              <a:tabLst>
                <a:tab pos="2152650" algn="r"/>
              </a:tabLst>
              <a:defRPr/>
            </a:pPr>
            <a:r>
              <a:rPr kumimoji="0" lang="en-GB" sz="1800" b="0" i="0" u="none" strike="noStrike" kern="1200" cap="none" spc="0" normalizeH="0" baseline="0" noProof="0" dirty="0">
                <a:ln>
                  <a:noFill/>
                </a:ln>
                <a:solidFill>
                  <a:srgbClr val="000000"/>
                </a:solidFill>
                <a:effectLst/>
                <a:uLnTx/>
                <a:uFillTx/>
                <a:latin typeface="Arial"/>
                <a:ea typeface="ＭＳ Ｐゴシック" charset="-128"/>
                <a:cs typeface="Arial" charset="0"/>
              </a:rPr>
              <a:t>Heat sales 		3.7 </a:t>
            </a:r>
            <a:r>
              <a:rPr kumimoji="0" lang="en-GB" sz="1800" b="0" i="0" u="none" strike="noStrike" kern="1200" cap="none" spc="0" normalizeH="0" baseline="0" noProof="1">
                <a:ln>
                  <a:noFill/>
                </a:ln>
                <a:solidFill>
                  <a:srgbClr val="000000"/>
                </a:solidFill>
                <a:effectLst/>
                <a:uLnTx/>
                <a:uFillTx/>
                <a:latin typeface="Arial"/>
                <a:ea typeface="ＭＳ Ｐゴシック" charset="-128"/>
                <a:cs typeface="Arial" charset="0"/>
              </a:rPr>
              <a:t>TWh</a:t>
            </a:r>
          </a:p>
        </p:txBody>
      </p:sp>
      <p:sp>
        <p:nvSpPr>
          <p:cNvPr id="25" name="Rectangle 64">
            <a:extLst>
              <a:ext uri="{FF2B5EF4-FFF2-40B4-BE49-F238E27FC236}">
                <a16:creationId xmlns:a16="http://schemas.microsoft.com/office/drawing/2014/main" id="{1964CC93-C9B9-414E-B807-CA76F9204729}"/>
              </a:ext>
            </a:extLst>
          </p:cNvPr>
          <p:cNvSpPr>
            <a:spLocks noChangeArrowheads="1"/>
          </p:cNvSpPr>
          <p:nvPr/>
        </p:nvSpPr>
        <p:spPr bwMode="auto">
          <a:xfrm>
            <a:off x="7833871" y="4995241"/>
            <a:ext cx="3787838" cy="936766"/>
          </a:xfrm>
          <a:prstGeom prst="rect">
            <a:avLst/>
          </a:prstGeom>
          <a:noFill/>
          <a:ln>
            <a:noFill/>
          </a:ln>
        </p:spPr>
        <p:txBody>
          <a:bodyPr wrap="none" lIns="74266" tIns="37133" rIns="74266" bIns="37133">
            <a:spAutoFit/>
          </a:bodyPr>
          <a:lstStyle/>
          <a:p>
            <a:pPr marL="0" marR="0" lvl="0" indent="0" algn="l" defTabSz="914400" rtl="0" eaLnBrk="1" fontAlgn="auto" latinLnBrk="0" hangingPunct="1">
              <a:lnSpc>
                <a:spcPct val="100000"/>
              </a:lnSpc>
              <a:spcBef>
                <a:spcPct val="20000"/>
              </a:spcBef>
              <a:spcAft>
                <a:spcPts val="0"/>
              </a:spcAft>
              <a:buClrTx/>
              <a:buSzTx/>
              <a:buFontTx/>
              <a:buNone/>
              <a:tabLst>
                <a:tab pos="2152650" algn="r"/>
              </a:tabLst>
              <a:defRPr/>
            </a:pPr>
            <a:r>
              <a:rPr kumimoji="0" lang="en-GB" sz="2000" b="1" i="0" u="none" strike="noStrike" kern="1200" cap="none" spc="0" normalizeH="0" baseline="0" noProof="0" dirty="0">
                <a:ln>
                  <a:noFill/>
                </a:ln>
                <a:solidFill>
                  <a:srgbClr val="78A0D4"/>
                </a:solidFill>
                <a:effectLst/>
                <a:uLnTx/>
                <a:uFillTx/>
                <a:latin typeface="Arial"/>
                <a:ea typeface="ＭＳ Ｐゴシック" charset="-128"/>
                <a:cs typeface="Arial" charset="0"/>
              </a:rPr>
              <a:t>Baltic countries</a:t>
            </a:r>
          </a:p>
          <a:p>
            <a:pPr marL="0" marR="0" lvl="0" indent="0" algn="l" defTabSz="914400" rtl="0" eaLnBrk="1" fontAlgn="auto" latinLnBrk="0" hangingPunct="1">
              <a:lnSpc>
                <a:spcPct val="100000"/>
              </a:lnSpc>
              <a:spcBef>
                <a:spcPts val="0"/>
              </a:spcBef>
              <a:spcAft>
                <a:spcPts val="0"/>
              </a:spcAft>
              <a:buClrTx/>
              <a:buSzTx/>
              <a:buFontTx/>
              <a:buNone/>
              <a:tabLst>
                <a:tab pos="2152650" algn="r"/>
              </a:tabLst>
              <a:defRPr/>
            </a:pPr>
            <a:r>
              <a:rPr kumimoji="0" lang="en-GB" sz="1800" b="0" i="0" u="none" strike="noStrike" kern="1200" cap="none" spc="0" normalizeH="0" baseline="0" noProof="0" dirty="0">
                <a:ln>
                  <a:noFill/>
                </a:ln>
                <a:solidFill>
                  <a:srgbClr val="000000"/>
                </a:solidFill>
                <a:effectLst/>
                <a:uLnTx/>
                <a:uFillTx/>
                <a:latin typeface="Arial"/>
                <a:ea typeface="ＭＳ Ｐゴシック" charset="-128"/>
                <a:cs typeface="Arial" charset="0"/>
              </a:rPr>
              <a:t>Power generation	 	0.7 </a:t>
            </a:r>
            <a:r>
              <a:rPr kumimoji="0" lang="en-GB" sz="1800" b="0" i="0" u="none" strike="noStrike" kern="1200" cap="none" spc="0" normalizeH="0" baseline="0" noProof="1">
                <a:ln>
                  <a:noFill/>
                </a:ln>
                <a:solidFill>
                  <a:srgbClr val="000000"/>
                </a:solidFill>
                <a:effectLst/>
                <a:uLnTx/>
                <a:uFillTx/>
                <a:latin typeface="Arial"/>
                <a:ea typeface="ＭＳ Ｐゴシック" charset="-128"/>
                <a:cs typeface="Arial" charset="0"/>
              </a:rPr>
              <a:t>TWh</a:t>
            </a:r>
          </a:p>
          <a:p>
            <a:pPr marL="0" marR="0" lvl="0" indent="0" algn="l" defTabSz="914400" rtl="0" eaLnBrk="1" fontAlgn="auto" latinLnBrk="0" hangingPunct="1">
              <a:lnSpc>
                <a:spcPct val="100000"/>
              </a:lnSpc>
              <a:spcBef>
                <a:spcPts val="0"/>
              </a:spcBef>
              <a:spcAft>
                <a:spcPts val="0"/>
              </a:spcAft>
              <a:buClrTx/>
              <a:buSzTx/>
              <a:buFontTx/>
              <a:buNone/>
              <a:tabLst>
                <a:tab pos="2152650" algn="r"/>
              </a:tabLst>
              <a:defRPr/>
            </a:pPr>
            <a:r>
              <a:rPr kumimoji="0" lang="en-GB" sz="1800" b="0" i="0" u="none" strike="noStrike" kern="1200" cap="none" spc="0" normalizeH="0" baseline="0" noProof="0" dirty="0">
                <a:ln>
                  <a:noFill/>
                </a:ln>
                <a:solidFill>
                  <a:srgbClr val="000000"/>
                </a:solidFill>
                <a:effectLst/>
                <a:uLnTx/>
                <a:uFillTx/>
                <a:latin typeface="Arial"/>
                <a:ea typeface="ＭＳ Ｐゴシック" charset="-128"/>
                <a:cs typeface="Arial" charset="0"/>
              </a:rPr>
              <a:t>Heat sales 		1.4 </a:t>
            </a:r>
            <a:r>
              <a:rPr kumimoji="0" lang="en-GB" sz="1800" b="0" i="0" u="none" strike="noStrike" kern="1200" cap="none" spc="0" normalizeH="0" baseline="0" noProof="1">
                <a:ln>
                  <a:noFill/>
                </a:ln>
                <a:solidFill>
                  <a:srgbClr val="000000"/>
                </a:solidFill>
                <a:effectLst/>
                <a:uLnTx/>
                <a:uFillTx/>
                <a:latin typeface="Arial"/>
                <a:ea typeface="ＭＳ Ｐゴシック" charset="-128"/>
                <a:cs typeface="Arial" charset="0"/>
              </a:rPr>
              <a:t>TWh</a:t>
            </a:r>
          </a:p>
        </p:txBody>
      </p:sp>
      <p:pic>
        <p:nvPicPr>
          <p:cNvPr id="16" name="Picture 15">
            <a:extLst>
              <a:ext uri="{FF2B5EF4-FFF2-40B4-BE49-F238E27FC236}">
                <a16:creationId xmlns:a16="http://schemas.microsoft.com/office/drawing/2014/main" id="{DB7875B9-31AA-4F77-A547-10C009244823}"/>
              </a:ext>
            </a:extLst>
          </p:cNvPr>
          <p:cNvPicPr>
            <a:picLocks noChangeAspect="1"/>
          </p:cNvPicPr>
          <p:nvPr/>
        </p:nvPicPr>
        <p:blipFill>
          <a:blip r:embed="rId9"/>
          <a:stretch>
            <a:fillRect/>
          </a:stretch>
        </p:blipFill>
        <p:spPr>
          <a:xfrm>
            <a:off x="4945031" y="4478674"/>
            <a:ext cx="1219200" cy="1057275"/>
          </a:xfrm>
          <a:prstGeom prst="rect">
            <a:avLst/>
          </a:prstGeom>
        </p:spPr>
      </p:pic>
    </p:spTree>
    <p:extLst>
      <p:ext uri="{BB962C8B-B14F-4D97-AF65-F5344CB8AC3E}">
        <p14:creationId xmlns:p14="http://schemas.microsoft.com/office/powerpoint/2010/main" val="1547607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F5E2EEDA-6976-4564-9542-90B78428D0D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90E5A77-D385-4CDE-8FE8-D3E3CBE93E71}"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Tittel 2">
            <a:extLst>
              <a:ext uri="{FF2B5EF4-FFF2-40B4-BE49-F238E27FC236}">
                <a16:creationId xmlns:a16="http://schemas.microsoft.com/office/drawing/2014/main" id="{B7B867F4-F3B4-4F67-AED2-A1571E36B89A}"/>
              </a:ext>
            </a:extLst>
          </p:cNvPr>
          <p:cNvSpPr>
            <a:spLocks noGrp="1"/>
          </p:cNvSpPr>
          <p:nvPr>
            <p:ph type="title"/>
          </p:nvPr>
        </p:nvSpPr>
        <p:spPr/>
        <p:txBody>
          <a:bodyPr/>
          <a:lstStyle/>
          <a:p>
            <a:r>
              <a:rPr lang="nb-NO" dirty="0"/>
              <a:t>Fortum – Business in </a:t>
            </a:r>
            <a:r>
              <a:rPr lang="nb-NO" dirty="0">
                <a:solidFill>
                  <a:srgbClr val="FF0000"/>
                </a:solidFill>
              </a:rPr>
              <a:t>Norway</a:t>
            </a:r>
          </a:p>
        </p:txBody>
      </p:sp>
      <p:pic>
        <p:nvPicPr>
          <p:cNvPr id="5" name="Bilde 4">
            <a:extLst>
              <a:ext uri="{FF2B5EF4-FFF2-40B4-BE49-F238E27FC236}">
                <a16:creationId xmlns:a16="http://schemas.microsoft.com/office/drawing/2014/main" id="{36840A48-C20A-4E20-906F-658AF8FB2BDA}"/>
              </a:ext>
            </a:extLst>
          </p:cNvPr>
          <p:cNvPicPr>
            <a:picLocks noChangeAspect="1"/>
          </p:cNvPicPr>
          <p:nvPr/>
        </p:nvPicPr>
        <p:blipFill rotWithShape="1">
          <a:blip r:embed="rId3"/>
          <a:srcRect r="918"/>
          <a:stretch/>
        </p:blipFill>
        <p:spPr>
          <a:xfrm>
            <a:off x="5707363" y="1370805"/>
            <a:ext cx="2257627" cy="1440000"/>
          </a:xfrm>
          <a:prstGeom prst="rect">
            <a:avLst/>
          </a:prstGeom>
        </p:spPr>
      </p:pic>
      <p:pic>
        <p:nvPicPr>
          <p:cNvPr id="6" name="Bilde 5">
            <a:extLst>
              <a:ext uri="{FF2B5EF4-FFF2-40B4-BE49-F238E27FC236}">
                <a16:creationId xmlns:a16="http://schemas.microsoft.com/office/drawing/2014/main" id="{077A1DB0-5A1F-4B9D-B948-3C04EF9D99AF}"/>
              </a:ext>
            </a:extLst>
          </p:cNvPr>
          <p:cNvPicPr>
            <a:picLocks noChangeAspect="1"/>
          </p:cNvPicPr>
          <p:nvPr/>
        </p:nvPicPr>
        <p:blipFill rotWithShape="1">
          <a:blip r:embed="rId4"/>
          <a:srcRect l="2540"/>
          <a:stretch/>
        </p:blipFill>
        <p:spPr>
          <a:xfrm>
            <a:off x="2923976" y="3014051"/>
            <a:ext cx="2248934" cy="1440000"/>
          </a:xfrm>
          <a:prstGeom prst="rect">
            <a:avLst/>
          </a:prstGeom>
        </p:spPr>
      </p:pic>
      <p:pic>
        <p:nvPicPr>
          <p:cNvPr id="9" name="Bilde 8">
            <a:extLst>
              <a:ext uri="{FF2B5EF4-FFF2-40B4-BE49-F238E27FC236}">
                <a16:creationId xmlns:a16="http://schemas.microsoft.com/office/drawing/2014/main" id="{8249F354-0117-4D4C-B62E-A061CE72BFF2}"/>
              </a:ext>
            </a:extLst>
          </p:cNvPr>
          <p:cNvPicPr>
            <a:picLocks noChangeAspect="1"/>
          </p:cNvPicPr>
          <p:nvPr/>
        </p:nvPicPr>
        <p:blipFill>
          <a:blip r:embed="rId5"/>
          <a:stretch>
            <a:fillRect/>
          </a:stretch>
        </p:blipFill>
        <p:spPr>
          <a:xfrm>
            <a:off x="5707363" y="4767195"/>
            <a:ext cx="2257627" cy="1440000"/>
          </a:xfrm>
          <a:prstGeom prst="rect">
            <a:avLst/>
          </a:prstGeom>
        </p:spPr>
      </p:pic>
      <p:sp>
        <p:nvSpPr>
          <p:cNvPr id="11" name="TekstSylinder 10">
            <a:extLst>
              <a:ext uri="{FF2B5EF4-FFF2-40B4-BE49-F238E27FC236}">
                <a16:creationId xmlns:a16="http://schemas.microsoft.com/office/drawing/2014/main" id="{2996C4CD-D331-4332-9A53-BB338F450E76}"/>
              </a:ext>
            </a:extLst>
          </p:cNvPr>
          <p:cNvSpPr txBox="1"/>
          <p:nvPr/>
        </p:nvSpPr>
        <p:spPr>
          <a:xfrm>
            <a:off x="259464" y="2964947"/>
            <a:ext cx="2664512" cy="4001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dirty="0">
                <a:ln>
                  <a:noFill/>
                </a:ln>
                <a:solidFill>
                  <a:srgbClr val="FF0000"/>
                </a:solidFill>
                <a:effectLst/>
                <a:uLnTx/>
                <a:uFillTx/>
                <a:latin typeface="Arial"/>
                <a:ea typeface="+mn-ea"/>
                <a:cs typeface="+mn-cs"/>
              </a:rPr>
              <a:t>Consumer solutions</a:t>
            </a:r>
          </a:p>
        </p:txBody>
      </p:sp>
      <p:sp>
        <p:nvSpPr>
          <p:cNvPr id="13" name="TekstSylinder 12">
            <a:extLst>
              <a:ext uri="{FF2B5EF4-FFF2-40B4-BE49-F238E27FC236}">
                <a16:creationId xmlns:a16="http://schemas.microsoft.com/office/drawing/2014/main" id="{EB9E688F-4AAC-4B59-85C4-8DBD5259E6FD}"/>
              </a:ext>
            </a:extLst>
          </p:cNvPr>
          <p:cNvSpPr txBox="1"/>
          <p:nvPr/>
        </p:nvSpPr>
        <p:spPr>
          <a:xfrm>
            <a:off x="8377103" y="1382835"/>
            <a:ext cx="3264035" cy="193899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dirty="0">
                <a:ln>
                  <a:noFill/>
                </a:ln>
                <a:solidFill>
                  <a:srgbClr val="FF0000"/>
                </a:solidFill>
                <a:effectLst/>
                <a:uLnTx/>
                <a:uFillTx/>
                <a:latin typeface="Arial"/>
                <a:ea typeface="+mn-ea"/>
                <a:cs typeface="+mn-cs"/>
              </a:rPr>
              <a:t>City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srgbClr val="000000"/>
                </a:solidFill>
                <a:effectLst/>
                <a:uLnTx/>
                <a:uFillTx/>
                <a:latin typeface="Arial"/>
                <a:ea typeface="+mn-ea"/>
                <a:cs typeface="+mn-cs"/>
              </a:rPr>
              <a:t>District heating and coo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srgbClr val="000000"/>
                </a:solidFill>
                <a:effectLst/>
                <a:uLnTx/>
                <a:uFillTx/>
                <a:latin typeface="Arial"/>
                <a:ea typeface="+mn-ea"/>
                <a:cs typeface="+mn-cs"/>
              </a:rPr>
              <a:t>Waste incine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srgbClr val="000000"/>
                </a:solidFill>
                <a:effectLst/>
                <a:uLnTx/>
                <a:uFillTx/>
                <a:latin typeface="Arial"/>
                <a:ea typeface="+mn-ea"/>
                <a:cs typeface="+mn-cs"/>
              </a:rPr>
              <a:t>CCS-proj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srgbClr val="000000"/>
                </a:solidFill>
                <a:effectLst/>
                <a:uLnTx/>
                <a:uFillTx/>
                <a:latin typeface="Arial"/>
                <a:ea typeface="+mn-ea"/>
                <a:cs typeface="+mn-cs"/>
              </a:rPr>
              <a:t>Recycling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srgbClr val="000000"/>
                </a:solidFill>
                <a:effectLst/>
                <a:uLnTx/>
                <a:uFillTx/>
                <a:latin typeface="Arial"/>
                <a:ea typeface="+mn-ea"/>
                <a:cs typeface="+mn-cs"/>
              </a:rPr>
              <a:t>Smart city solutions</a:t>
            </a:r>
          </a:p>
        </p:txBody>
      </p:sp>
      <p:sp>
        <p:nvSpPr>
          <p:cNvPr id="15" name="TekstSylinder 14">
            <a:extLst>
              <a:ext uri="{FF2B5EF4-FFF2-40B4-BE49-F238E27FC236}">
                <a16:creationId xmlns:a16="http://schemas.microsoft.com/office/drawing/2014/main" id="{85BBFD16-0E0F-4E46-9471-4D42944DE102}"/>
              </a:ext>
            </a:extLst>
          </p:cNvPr>
          <p:cNvSpPr txBox="1"/>
          <p:nvPr/>
        </p:nvSpPr>
        <p:spPr>
          <a:xfrm>
            <a:off x="8428128" y="4671587"/>
            <a:ext cx="314048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Solar and </a:t>
            </a:r>
            <a:r>
              <a:rPr kumimoji="0" lang="en-US" sz="2000" b="1" i="0" u="none" strike="noStrike" kern="1200" cap="none" spc="0" normalizeH="0" baseline="0" noProof="0" dirty="0">
                <a:ln>
                  <a:noFill/>
                </a:ln>
                <a:solidFill>
                  <a:srgbClr val="FF0000"/>
                </a:solidFill>
                <a:effectLst/>
                <a:uLnTx/>
                <a:uFillTx/>
                <a:latin typeface="Arial"/>
                <a:ea typeface="+mn-ea"/>
                <a:cs typeface="+mn-cs"/>
              </a:rPr>
              <a:t>Wind power</a:t>
            </a:r>
            <a:endParaRPr kumimoji="0" lang="en-US" sz="20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3 installations in Northern Norway together with Nordkraft</a:t>
            </a:r>
            <a:endParaRPr kumimoji="0" lang="nb-NO"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TekstSylinder 10">
            <a:extLst>
              <a:ext uri="{FF2B5EF4-FFF2-40B4-BE49-F238E27FC236}">
                <a16:creationId xmlns:a16="http://schemas.microsoft.com/office/drawing/2014/main" id="{F64E9C87-694B-45B8-9EC1-2D4FB1E0617F}"/>
              </a:ext>
            </a:extLst>
          </p:cNvPr>
          <p:cNvSpPr txBox="1"/>
          <p:nvPr/>
        </p:nvSpPr>
        <p:spPr>
          <a:xfrm>
            <a:off x="259465" y="4567140"/>
            <a:ext cx="4762842"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dirty="0">
                <a:ln>
                  <a:noFill/>
                </a:ln>
                <a:solidFill>
                  <a:srgbClr val="000000"/>
                </a:solidFill>
                <a:effectLst/>
                <a:uLnTx/>
                <a:uFillTx/>
                <a:latin typeface="Arial"/>
                <a:ea typeface="+mn-ea"/>
                <a:cs typeface="+mn-cs"/>
              </a:rPr>
              <a:t>Brands (consumer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srgbClr val="000000"/>
                </a:solidFill>
                <a:effectLst/>
                <a:uLnTx/>
                <a:uFillTx/>
                <a:latin typeface="Arial"/>
                <a:ea typeface="+mn-ea"/>
                <a:cs typeface="+mn-cs"/>
              </a:rPr>
              <a:t>Fortum (including charge and dr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srgbClr val="000000"/>
                </a:solidFill>
                <a:effectLst/>
                <a:uLnTx/>
                <a:uFillTx/>
                <a:latin typeface="Arial"/>
                <a:ea typeface="+mn-ea"/>
                <a:cs typeface="+mn-cs"/>
              </a:rPr>
              <a:t>Hafslund Strø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srgbClr val="000000"/>
                </a:solidFill>
                <a:effectLst/>
                <a:uLnTx/>
                <a:uFillTx/>
                <a:latin typeface="Arial"/>
                <a:ea typeface="+mn-ea"/>
                <a:cs typeface="+mn-cs"/>
              </a:rPr>
              <a:t>Norges Energ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srgbClr val="000000"/>
                </a:solidFill>
                <a:effectLst/>
                <a:uLnTx/>
                <a:uFillTx/>
                <a:latin typeface="Arial"/>
                <a:ea typeface="+mn-ea"/>
                <a:cs typeface="+mn-cs"/>
              </a:rPr>
              <a:t>Hallingkraft</a:t>
            </a:r>
          </a:p>
        </p:txBody>
      </p:sp>
      <p:pic>
        <p:nvPicPr>
          <p:cNvPr id="4" name="Picture 3">
            <a:extLst>
              <a:ext uri="{FF2B5EF4-FFF2-40B4-BE49-F238E27FC236}">
                <a16:creationId xmlns:a16="http://schemas.microsoft.com/office/drawing/2014/main" id="{7648BE6A-41BA-4142-A0A9-F9C722F43B0A}"/>
              </a:ext>
            </a:extLst>
          </p:cNvPr>
          <p:cNvPicPr>
            <a:picLocks noChangeAspect="1"/>
          </p:cNvPicPr>
          <p:nvPr/>
        </p:nvPicPr>
        <p:blipFill>
          <a:blip r:embed="rId6"/>
          <a:stretch>
            <a:fillRect/>
          </a:stretch>
        </p:blipFill>
        <p:spPr>
          <a:xfrm>
            <a:off x="7157903" y="4567140"/>
            <a:ext cx="1219200" cy="1057275"/>
          </a:xfrm>
          <a:prstGeom prst="rect">
            <a:avLst/>
          </a:prstGeom>
        </p:spPr>
      </p:pic>
    </p:spTree>
    <p:extLst>
      <p:ext uri="{BB962C8B-B14F-4D97-AF65-F5344CB8AC3E}">
        <p14:creationId xmlns:p14="http://schemas.microsoft.com/office/powerpoint/2010/main" val="39561674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3027423F-EBC7-4F31-BBC0-5DC281E0E0C2}"/>
              </a:ext>
            </a:extLst>
          </p:cNvPr>
          <p:cNvSpPr/>
          <p:nvPr/>
        </p:nvSpPr>
        <p:spPr>
          <a:xfrm>
            <a:off x="0" y="0"/>
            <a:ext cx="12192000" cy="318602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Arial"/>
              <a:ea typeface="+mn-ea"/>
              <a:cs typeface="+mn-cs"/>
            </a:endParaRPr>
          </a:p>
        </p:txBody>
      </p:sp>
      <p:pic>
        <p:nvPicPr>
          <p:cNvPr id="828" name="pasted-image.pdf"/>
          <p:cNvPicPr>
            <a:picLocks noChangeAspect="1"/>
          </p:cNvPicPr>
          <p:nvPr/>
        </p:nvPicPr>
        <p:blipFill>
          <a:blip r:embed="rId3"/>
          <a:stretch>
            <a:fillRect/>
          </a:stretch>
        </p:blipFill>
        <p:spPr>
          <a:xfrm>
            <a:off x="0" y="1334551"/>
            <a:ext cx="12192000" cy="5523449"/>
          </a:xfrm>
          <a:prstGeom prst="rect">
            <a:avLst/>
          </a:prstGeom>
          <a:ln w="12700">
            <a:miter lim="400000"/>
          </a:ln>
        </p:spPr>
      </p:pic>
      <p:pic>
        <p:nvPicPr>
          <p:cNvPr id="829" name="pasted-image.pdf"/>
          <p:cNvPicPr>
            <a:picLocks noChangeAspect="1"/>
          </p:cNvPicPr>
          <p:nvPr/>
        </p:nvPicPr>
        <p:blipFill>
          <a:blip r:embed="rId4"/>
          <a:stretch>
            <a:fillRect/>
          </a:stretch>
        </p:blipFill>
        <p:spPr>
          <a:xfrm>
            <a:off x="399547" y="-4781"/>
            <a:ext cx="2619122" cy="5772649"/>
          </a:xfrm>
          <a:prstGeom prst="rect">
            <a:avLst/>
          </a:prstGeom>
          <a:ln w="12700">
            <a:miter lim="400000"/>
          </a:ln>
        </p:spPr>
      </p:pic>
      <p:sp>
        <p:nvSpPr>
          <p:cNvPr id="830" name="Shape 830"/>
          <p:cNvSpPr/>
          <p:nvPr/>
        </p:nvSpPr>
        <p:spPr>
          <a:xfrm>
            <a:off x="3669514" y="3531427"/>
            <a:ext cx="1224137" cy="182970"/>
          </a:xfrm>
          <a:prstGeom prst="rect">
            <a:avLst/>
          </a:prstGeom>
          <a:solidFill>
            <a:schemeClr val="accent2">
              <a:alpha val="80000"/>
            </a:schemeClr>
          </a:solidFill>
          <a:ln w="12700">
            <a:miter lim="400000"/>
          </a:ln>
          <a:extLst>
            <a:ext uri="{C572A759-6A51-4108-AA02-DFA0A04FC94B}">
              <ma14:wrappingTextBoxFlag xmlns:ma14="http://schemas.microsoft.com/office/mac/drawingml/2011/main" xmlns="" val="1"/>
            </a:ext>
          </a:extLst>
        </p:spPr>
        <p:txBody>
          <a:bodyPr lIns="14400" tIns="14400" rIns="14400" bIns="14400">
            <a:spAutoFit/>
          </a:bodyPr>
          <a:lstStyle>
            <a:lvl1pPr algn="ctr">
              <a:defRPr sz="1000" b="1">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Arial"/>
                <a:ea typeface="+mn-ea"/>
                <a:cs typeface="+mn-cs"/>
              </a:rPr>
              <a:t>District </a:t>
            </a:r>
            <a:r>
              <a:rPr kumimoji="0" lang="nb-NO" sz="1000" b="1" i="0" u="none" strike="noStrike" kern="1200" cap="none" spc="0" normalizeH="0" baseline="0" noProof="0" dirty="0" err="1">
                <a:ln>
                  <a:noFill/>
                </a:ln>
                <a:solidFill>
                  <a:srgbClr val="FFFFFF"/>
                </a:solidFill>
                <a:effectLst/>
                <a:uLnTx/>
                <a:uFillTx/>
                <a:latin typeface="Arial"/>
                <a:ea typeface="+mn-ea"/>
                <a:cs typeface="+mn-cs"/>
              </a:rPr>
              <a:t>heating</a:t>
            </a:r>
            <a:endParaRPr kumimoji="0"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831" name="Shape 831"/>
          <p:cNvSpPr/>
          <p:nvPr/>
        </p:nvSpPr>
        <p:spPr>
          <a:xfrm>
            <a:off x="562592" y="388384"/>
            <a:ext cx="1996479" cy="30777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sz="1400" b="1">
                <a:solidFill>
                  <a:schemeClr val="accent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err="1">
                <a:ln>
                  <a:noFill/>
                </a:ln>
                <a:solidFill>
                  <a:srgbClr val="377A6C"/>
                </a:solidFill>
                <a:effectLst/>
                <a:uLnTx/>
                <a:uFillTx/>
                <a:latin typeface="Arial"/>
                <a:ea typeface="+mn-ea"/>
                <a:cs typeface="+mn-cs"/>
              </a:rPr>
              <a:t>Energ</a:t>
            </a:r>
            <a:r>
              <a:rPr kumimoji="0" lang="nb-NO" sz="1400" b="1" i="0" u="none" strike="noStrike" kern="1200" cap="none" spc="0" normalizeH="0" baseline="0" noProof="0" dirty="0">
                <a:ln>
                  <a:noFill/>
                </a:ln>
                <a:solidFill>
                  <a:srgbClr val="377A6C"/>
                </a:solidFill>
                <a:effectLst/>
                <a:uLnTx/>
                <a:uFillTx/>
                <a:latin typeface="Arial"/>
                <a:ea typeface="+mn-ea"/>
                <a:cs typeface="+mn-cs"/>
              </a:rPr>
              <a:t>y </a:t>
            </a:r>
            <a:r>
              <a:rPr kumimoji="0" lang="nb-NO" sz="1400" b="1" i="0" u="none" strike="noStrike" kern="1200" cap="none" spc="0" normalizeH="0" baseline="0" noProof="0" dirty="0" err="1">
                <a:ln>
                  <a:noFill/>
                </a:ln>
                <a:solidFill>
                  <a:srgbClr val="377A6C"/>
                </a:solidFill>
                <a:effectLst/>
                <a:uLnTx/>
                <a:uFillTx/>
                <a:latin typeface="Arial"/>
                <a:ea typeface="+mn-ea"/>
                <a:cs typeface="+mn-cs"/>
              </a:rPr>
              <a:t>sources</a:t>
            </a:r>
            <a:r>
              <a:rPr kumimoji="0" lang="nb-NO" sz="1400" b="1" i="0" u="none" strike="noStrike" kern="1200" cap="none" spc="0" normalizeH="0" baseline="0" noProof="0" dirty="0">
                <a:ln>
                  <a:noFill/>
                </a:ln>
                <a:solidFill>
                  <a:srgbClr val="377A6C"/>
                </a:solidFill>
                <a:effectLst/>
                <a:uLnTx/>
                <a:uFillTx/>
                <a:latin typeface="Arial"/>
                <a:ea typeface="+mn-ea"/>
                <a:cs typeface="+mn-cs"/>
              </a:rPr>
              <a:t> 2018</a:t>
            </a:r>
            <a:r>
              <a:rPr kumimoji="0" sz="1400" b="1" i="0" u="none" strike="noStrike" kern="1200" cap="none" spc="0" normalizeH="0" baseline="0" noProof="0" dirty="0">
                <a:ln>
                  <a:noFill/>
                </a:ln>
                <a:solidFill>
                  <a:srgbClr val="377A6C"/>
                </a:solidFill>
                <a:effectLst/>
                <a:uLnTx/>
                <a:uFillTx/>
                <a:latin typeface="Arial"/>
                <a:ea typeface="+mn-ea"/>
                <a:cs typeface="+mn-cs"/>
              </a:rPr>
              <a:t>:</a:t>
            </a:r>
          </a:p>
        </p:txBody>
      </p:sp>
      <p:sp>
        <p:nvSpPr>
          <p:cNvPr id="832" name="Shape 832"/>
          <p:cNvSpPr/>
          <p:nvPr/>
        </p:nvSpPr>
        <p:spPr>
          <a:xfrm>
            <a:off x="1366710" y="860683"/>
            <a:ext cx="1428945"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000" b="1">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Arial"/>
                <a:ea typeface="+mn-ea"/>
                <a:cs typeface="+mn-cs"/>
              </a:rPr>
              <a:t>WASTE HEAT 60,8 %</a:t>
            </a:r>
            <a:endParaRPr kumimoji="0"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833" name="Shape 833"/>
          <p:cNvSpPr/>
          <p:nvPr/>
        </p:nvSpPr>
        <p:spPr>
          <a:xfrm>
            <a:off x="1366709" y="1271143"/>
            <a:ext cx="1509521" cy="246221"/>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sz="1000" b="1">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Arial"/>
                <a:ea typeface="+mn-ea"/>
                <a:cs typeface="+mn-cs"/>
              </a:rPr>
              <a:t>ELECTRISITY    24 %</a:t>
            </a:r>
            <a:endParaRPr kumimoji="0"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834" name="Shape 834"/>
          <p:cNvSpPr/>
          <p:nvPr/>
        </p:nvSpPr>
        <p:spPr>
          <a:xfrm>
            <a:off x="1366710" y="1646905"/>
            <a:ext cx="1428945" cy="400110"/>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000" b="1">
                <a:solidFill>
                  <a:srgbClr val="FFFFFF"/>
                </a:solidFill>
              </a:defRPr>
            </a:pPr>
            <a:r>
              <a:rPr kumimoji="0" lang="nb-NO" sz="1000" b="1" i="0" u="none" strike="noStrike" kern="1200" cap="none" spc="0" normalizeH="0" baseline="0" noProof="0" dirty="0">
                <a:ln>
                  <a:noFill/>
                </a:ln>
                <a:solidFill>
                  <a:srgbClr val="FFFFFF"/>
                </a:solidFill>
                <a:effectLst/>
                <a:uLnTx/>
                <a:uFillTx/>
                <a:latin typeface="Arial"/>
                <a:ea typeface="+mn-ea"/>
                <a:cs typeface="+mn-cs"/>
              </a:rPr>
              <a:t>HEATPUMP</a:t>
            </a:r>
            <a:r>
              <a:rPr kumimoji="0" sz="1000" b="1" i="0" u="none" strike="noStrike" kern="1200" cap="none" spc="0" normalizeH="0" baseline="0" noProof="0" dirty="0">
                <a:ln>
                  <a:noFill/>
                </a:ln>
                <a:solidFill>
                  <a:srgbClr val="FFFFFF"/>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sz="1000" b="1">
                <a:solidFill>
                  <a:srgbClr val="FFFFFF"/>
                </a:solidFill>
              </a:defRPr>
            </a:pPr>
            <a:r>
              <a:rPr kumimoji="0" lang="nb-NO" sz="1000" b="1" i="0" u="none" strike="noStrike" kern="1200" cap="none" spc="0" normalizeH="0" baseline="0" noProof="0" dirty="0">
                <a:ln>
                  <a:noFill/>
                </a:ln>
                <a:solidFill>
                  <a:srgbClr val="FFFFFF"/>
                </a:solidFill>
                <a:effectLst/>
                <a:uLnTx/>
                <a:uFillTx/>
                <a:latin typeface="Arial"/>
                <a:ea typeface="+mn-ea"/>
                <a:cs typeface="+mn-cs"/>
              </a:rPr>
              <a:t>SEWER             5,6 %</a:t>
            </a:r>
            <a:endParaRPr kumimoji="0"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835" name="Shape 835"/>
          <p:cNvSpPr/>
          <p:nvPr/>
        </p:nvSpPr>
        <p:spPr>
          <a:xfrm>
            <a:off x="1366710" y="2523741"/>
            <a:ext cx="1428945"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000" b="1">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Arial"/>
                <a:ea typeface="+mn-ea"/>
                <a:cs typeface="+mn-cs"/>
              </a:rPr>
              <a:t>WOOD PELLET 5,8 %</a:t>
            </a:r>
            <a:endParaRPr kumimoji="0"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836" name="Shape 836"/>
          <p:cNvSpPr/>
          <p:nvPr/>
        </p:nvSpPr>
        <p:spPr>
          <a:xfrm>
            <a:off x="1366710" y="2939799"/>
            <a:ext cx="1428945"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000" b="1">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Arial"/>
                <a:ea typeface="+mn-ea"/>
                <a:cs typeface="+mn-cs"/>
              </a:rPr>
              <a:t>BIOFUEL 	2,3 %</a:t>
            </a:r>
            <a:endParaRPr kumimoji="0"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837" name="Shape 837"/>
          <p:cNvSpPr/>
          <p:nvPr/>
        </p:nvSpPr>
        <p:spPr>
          <a:xfrm>
            <a:off x="1366710" y="3357394"/>
            <a:ext cx="1428945"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000" b="1">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Arial"/>
                <a:ea typeface="+mn-ea"/>
                <a:cs typeface="+mn-cs"/>
              </a:rPr>
              <a:t>FOSSIL OIL       0,1 %</a:t>
            </a:r>
            <a:endParaRPr kumimoji="0"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838" name="Shape 838"/>
          <p:cNvSpPr/>
          <p:nvPr/>
        </p:nvSpPr>
        <p:spPr>
          <a:xfrm>
            <a:off x="1366710" y="3782770"/>
            <a:ext cx="1428945"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000" b="1">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Arial"/>
                <a:ea typeface="+mn-ea"/>
                <a:cs typeface="+mn-cs"/>
              </a:rPr>
              <a:t>LNG                   1,4 %</a:t>
            </a:r>
            <a:endParaRPr kumimoji="0" sz="1000" b="1" i="0" u="none" strike="noStrike" kern="1200" cap="none" spc="0" normalizeH="0" baseline="0" noProof="0" dirty="0">
              <a:ln>
                <a:noFill/>
              </a:ln>
              <a:solidFill>
                <a:srgbClr val="FFFFFF"/>
              </a:solidFill>
              <a:effectLst/>
              <a:uLnTx/>
              <a:uFillTx/>
              <a:latin typeface="Arial"/>
              <a:ea typeface="+mn-ea"/>
              <a:cs typeface="+mn-cs"/>
            </a:endParaRPr>
          </a:p>
        </p:txBody>
      </p:sp>
      <p:sp>
        <p:nvSpPr>
          <p:cNvPr id="839" name="Shape 839"/>
          <p:cNvSpPr/>
          <p:nvPr/>
        </p:nvSpPr>
        <p:spPr>
          <a:xfrm>
            <a:off x="491185" y="4712222"/>
            <a:ext cx="2385045" cy="675412"/>
          </a:xfrm>
          <a:prstGeom prst="rect">
            <a:avLst/>
          </a:prstGeom>
          <a:solidFill>
            <a:schemeClr val="accent2">
              <a:alpha val="80000"/>
            </a:schemeClr>
          </a:solidFill>
          <a:ln w="12700">
            <a:miter lim="400000"/>
          </a:ln>
          <a:extLst>
            <a:ext uri="{C572A759-6A51-4108-AA02-DFA0A04FC94B}">
              <ma14:wrappingTextBoxFlag xmlns:ma14="http://schemas.microsoft.com/office/mac/drawingml/2011/main" xmlns="" val="1"/>
            </a:ext>
          </a:extLst>
        </p:spPr>
        <p:txBody>
          <a:bodyPr lIns="14400" tIns="14400" rIns="14400" bIns="144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a:solidFill>
                  <a:srgbClr val="FFFFFF"/>
                </a:solidFill>
              </a:defRPr>
            </a:pPr>
            <a:r>
              <a:rPr kumimoji="0" lang="nb-NO" sz="1400" b="1" i="0" u="none" strike="noStrike" kern="1200" cap="none" spc="0" normalizeH="0" baseline="0" noProof="0" dirty="0">
                <a:ln>
                  <a:noFill/>
                </a:ln>
                <a:solidFill>
                  <a:srgbClr val="FFFFFF"/>
                </a:solidFill>
                <a:effectLst/>
                <a:uLnTx/>
                <a:uFillTx/>
                <a:latin typeface="Arial"/>
                <a:ea typeface="+mn-ea"/>
                <a:cs typeface="+mn-cs"/>
              </a:rPr>
              <a:t>ENERGY RECOVERY FROM 400.000 TONNES WASTE/ YEAR</a:t>
            </a:r>
            <a:endParaRPr kumimoji="0"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840" name="Shape 840"/>
          <p:cNvSpPr/>
          <p:nvPr/>
        </p:nvSpPr>
        <p:spPr>
          <a:xfrm>
            <a:off x="533253" y="5980798"/>
            <a:ext cx="2473444" cy="553998"/>
          </a:xfrm>
          <a:prstGeom prst="rect">
            <a:avLst/>
          </a:prstGeom>
          <a:ln w="12700">
            <a:miter lim="400000"/>
          </a:ln>
          <a:extLst>
            <a:ext uri="{C572A759-6A51-4108-AA02-DFA0A04FC94B}">
              <ma14:wrappingTextBoxFlag xmlns:ma14="http://schemas.microsoft.com/office/mac/drawingml/2011/main" xmlns="" val="1"/>
            </a:ext>
          </a:extLst>
        </p:spPr>
        <p:txBody>
          <a:bodyPr lIns="45719" rIns="45719" anchor="t">
            <a:spAutoFit/>
          </a:bodyPr>
          <a:lstStyle/>
          <a:p>
            <a:pPr marL="0" marR="0" lvl="0" indent="0" algn="l" defTabSz="914400" rtl="0" eaLnBrk="1" fontAlgn="auto" latinLnBrk="0" hangingPunct="1">
              <a:lnSpc>
                <a:spcPts val="900"/>
              </a:lnSpc>
              <a:spcBef>
                <a:spcPts val="0"/>
              </a:spcBef>
              <a:spcAft>
                <a:spcPts val="0"/>
              </a:spcAft>
              <a:buClrTx/>
              <a:buSzTx/>
              <a:buFontTx/>
              <a:buNone/>
              <a:tabLst/>
              <a:defRPr sz="1000" b="1">
                <a:solidFill>
                  <a:srgbClr val="FFFFFF"/>
                </a:solidFill>
              </a:defRPr>
            </a:pPr>
            <a:r>
              <a:rPr kumimoji="0" lang="nb-NO" sz="1000" b="1" i="0" u="none" strike="noStrike" kern="1200" cap="none" spc="0" normalizeH="0" baseline="0" noProof="0" dirty="0">
                <a:ln>
                  <a:noFill/>
                </a:ln>
                <a:solidFill>
                  <a:srgbClr val="FFFFFF"/>
                </a:solidFill>
                <a:effectLst/>
                <a:uLnTx/>
                <a:uFillTx/>
                <a:latin typeface="Arial"/>
                <a:ea typeface="+mn-ea"/>
                <a:cs typeface="+mn-cs"/>
              </a:rPr>
              <a:t>Production </a:t>
            </a:r>
            <a:r>
              <a:rPr kumimoji="0" lang="en-GB" sz="1000" b="1" i="0" u="none" strike="noStrike" kern="1200" cap="none" spc="0" normalizeH="0" baseline="0" noProof="0" dirty="0">
                <a:ln>
                  <a:noFill/>
                </a:ln>
                <a:solidFill>
                  <a:srgbClr val="FFFFFF"/>
                </a:solidFill>
                <a:effectLst/>
                <a:uLnTx/>
                <a:uFillTx/>
                <a:latin typeface="Arial"/>
                <a:ea typeface="+mn-ea"/>
                <a:cs typeface="+mn-cs"/>
              </a:rPr>
              <a:t>capacity</a:t>
            </a:r>
            <a:r>
              <a:rPr kumimoji="0" lang="nb-NO" sz="1000" b="1" i="0" u="none" strike="noStrike" kern="1200" cap="none" spc="0" normalizeH="0" baseline="0" noProof="0" dirty="0">
                <a:ln>
                  <a:noFill/>
                </a:ln>
                <a:solidFill>
                  <a:srgbClr val="FFFFFF"/>
                </a:solidFill>
                <a:effectLst/>
                <a:uLnTx/>
                <a:uFillTx/>
                <a:latin typeface="Arial"/>
                <a:ea typeface="+mn-ea"/>
                <a:cs typeface="+mn-cs"/>
              </a:rPr>
              <a:t> </a:t>
            </a:r>
            <a:endParaRPr kumimoji="0" lang="nb-NO" sz="1000" b="1" i="0" u="none" strike="noStrike" kern="1200" cap="none" spc="0" normalizeH="0" baseline="0" noProof="0" dirty="0">
              <a:ln>
                <a:noFill/>
              </a:ln>
              <a:solidFill>
                <a:srgbClr val="FFFFFF"/>
              </a:solidFill>
              <a:effectLst/>
              <a:uLnTx/>
              <a:uFillTx/>
              <a:latin typeface="Arial"/>
              <a:ea typeface="+mn-ea"/>
              <a:cs typeface="Arial"/>
            </a:endParaRPr>
          </a:p>
          <a:p>
            <a:pPr marL="0" marR="0" lvl="0" indent="0" algn="l" defTabSz="914400" rtl="0" eaLnBrk="1" fontAlgn="auto" latinLnBrk="0" hangingPunct="1">
              <a:lnSpc>
                <a:spcPts val="900"/>
              </a:lnSpc>
              <a:spcBef>
                <a:spcPts val="0"/>
              </a:spcBef>
              <a:spcAft>
                <a:spcPts val="0"/>
              </a:spcAft>
              <a:buClrTx/>
              <a:buSzTx/>
              <a:buFontTx/>
              <a:buNone/>
              <a:tabLst/>
              <a:defRPr sz="2000" b="1">
                <a:solidFill>
                  <a:srgbClr val="FFFFFF"/>
                </a:solidFill>
              </a:defRPr>
            </a:pPr>
            <a:endParaRPr kumimoji="0" lang="nb-NO" sz="10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14400" rtl="0" eaLnBrk="1" fontAlgn="auto" latinLnBrk="0" hangingPunct="1">
              <a:lnSpc>
                <a:spcPts val="900"/>
              </a:lnSpc>
              <a:spcBef>
                <a:spcPts val="0"/>
              </a:spcBef>
              <a:spcAft>
                <a:spcPts val="0"/>
              </a:spcAft>
              <a:buClrTx/>
              <a:buSzTx/>
              <a:buFontTx/>
              <a:buNone/>
              <a:tabLst/>
              <a:defRPr sz="2000" b="1">
                <a:solidFill>
                  <a:srgbClr val="FFFFFF"/>
                </a:solidFill>
              </a:defRPr>
            </a:pPr>
            <a:r>
              <a:rPr kumimoji="0" sz="2000" b="1" i="0" u="none" strike="noStrike" kern="1200" cap="none" spc="0" normalizeH="0" baseline="0" noProof="0" dirty="0">
                <a:ln>
                  <a:noFill/>
                </a:ln>
                <a:solidFill>
                  <a:srgbClr val="FFFFFF"/>
                </a:solidFill>
                <a:effectLst/>
                <a:uLnTx/>
                <a:uFillTx/>
                <a:latin typeface="Arial"/>
                <a:ea typeface="+mn-ea"/>
                <a:cs typeface="+mn-cs"/>
              </a:rPr>
              <a:t>150 GWh</a:t>
            </a:r>
          </a:p>
          <a:p>
            <a:pPr marL="0" marR="0" lvl="0" indent="0" algn="l" defTabSz="914400" rtl="0" eaLnBrk="1" fontAlgn="auto" latinLnBrk="0" hangingPunct="1">
              <a:lnSpc>
                <a:spcPts val="900"/>
              </a:lnSpc>
              <a:spcBef>
                <a:spcPts val="0"/>
              </a:spcBef>
              <a:spcAft>
                <a:spcPts val="0"/>
              </a:spcAft>
              <a:buClrTx/>
              <a:buSzTx/>
              <a:buFontTx/>
              <a:buNone/>
              <a:tabLst/>
              <a:defRPr sz="900" b="1">
                <a:solidFill>
                  <a:srgbClr val="FFFFFF"/>
                </a:solidFill>
              </a:defRPr>
            </a:pPr>
            <a:r>
              <a:rPr kumimoji="0" lang="nb-NO" sz="900" b="1" i="0" u="none" strike="noStrike" kern="1200" cap="none" spc="0" normalizeH="0" baseline="0" noProof="0" dirty="0" err="1">
                <a:ln>
                  <a:noFill/>
                </a:ln>
                <a:solidFill>
                  <a:srgbClr val="FFFFFF"/>
                </a:solidFill>
                <a:effectLst/>
                <a:uLnTx/>
                <a:uFillTx/>
                <a:latin typeface="Arial"/>
                <a:ea typeface="+mn-ea"/>
                <a:cs typeface="+mn-cs"/>
              </a:rPr>
              <a:t>electricity</a:t>
            </a:r>
            <a:r>
              <a:rPr kumimoji="0" sz="900" b="1" i="0" u="none" strike="noStrike" kern="1200" cap="none" spc="0" normalizeH="0" baseline="0" noProof="0" dirty="0">
                <a:ln>
                  <a:noFill/>
                </a:ln>
                <a:solidFill>
                  <a:srgbClr val="FFFFFF"/>
                </a:solidFill>
                <a:effectLst/>
                <a:uLnTx/>
                <a:uFillTx/>
                <a:latin typeface="Arial"/>
                <a:ea typeface="+mn-ea"/>
                <a:cs typeface="+mn-cs"/>
              </a:rPr>
              <a:t> (est. </a:t>
            </a:r>
            <a:r>
              <a:rPr kumimoji="0" lang="nb-NO" sz="900" b="1" i="0" u="none" strike="noStrike" kern="1200" cap="none" spc="0" normalizeH="0" baseline="0" noProof="0" dirty="0">
                <a:ln>
                  <a:noFill/>
                </a:ln>
                <a:solidFill>
                  <a:srgbClr val="FFFFFF"/>
                </a:solidFill>
                <a:effectLst/>
                <a:uLnTx/>
                <a:uFillTx/>
                <a:latin typeface="Arial"/>
                <a:ea typeface="+mn-ea"/>
                <a:cs typeface="+mn-cs"/>
              </a:rPr>
              <a:t>2018</a:t>
            </a:r>
            <a:r>
              <a:rPr kumimoji="0" sz="900" b="1" i="0" u="none" strike="noStrike" kern="1200" cap="none" spc="0" normalizeH="0" baseline="0" noProof="0" dirty="0">
                <a:ln>
                  <a:noFill/>
                </a:ln>
                <a:solidFill>
                  <a:srgbClr val="FFFFFF"/>
                </a:solidFill>
                <a:effectLst/>
                <a:uLnTx/>
                <a:uFillTx/>
                <a:latin typeface="Arial"/>
                <a:ea typeface="+mn-ea"/>
                <a:cs typeface="+mn-cs"/>
              </a:rPr>
              <a:t>)</a:t>
            </a:r>
            <a:endParaRPr kumimoji="0" sz="900" b="1" i="0" u="none" strike="noStrike" kern="1200" cap="none" spc="0" normalizeH="0" baseline="0" noProof="0" dirty="0">
              <a:ln>
                <a:noFill/>
              </a:ln>
              <a:solidFill>
                <a:srgbClr val="FFFFFF"/>
              </a:solidFill>
              <a:effectLst/>
              <a:uLnTx/>
              <a:uFillTx/>
              <a:latin typeface="Arial"/>
              <a:ea typeface="+mn-ea"/>
              <a:cs typeface="Arial"/>
            </a:endParaRPr>
          </a:p>
        </p:txBody>
      </p:sp>
      <p:sp>
        <p:nvSpPr>
          <p:cNvPr id="842" name="Shape 842"/>
          <p:cNvSpPr/>
          <p:nvPr/>
        </p:nvSpPr>
        <p:spPr>
          <a:xfrm>
            <a:off x="6401626" y="1648798"/>
            <a:ext cx="1340438" cy="490746"/>
          </a:xfrm>
          <a:prstGeom prst="rect">
            <a:avLst/>
          </a:prstGeom>
          <a:ln w="12700">
            <a:miter lim="400000"/>
          </a:ln>
          <a:extLst>
            <a:ext uri="{C572A759-6A51-4108-AA02-DFA0A04FC94B}">
              <ma14:wrappingTextBoxFlag xmlns:ma14="http://schemas.microsoft.com/office/mac/drawingml/2011/main" xmlns="" val="1"/>
            </a:ext>
          </a:extLst>
        </p:spPr>
        <p:txBody>
          <a:bodyPr lIns="14400" tIns="14400" rIns="14400" bIns="1440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a:solidFill>
                  <a:srgbClr val="377A6C"/>
                </a:solidFill>
              </a:defRPr>
            </a:pPr>
            <a:r>
              <a:rPr kumimoji="0" lang="nb-NO" sz="2000" b="1" i="0" u="none" strike="noStrike" kern="1200" cap="none" spc="0" normalizeH="0" baseline="0" noProof="0" dirty="0">
                <a:ln>
                  <a:noFill/>
                </a:ln>
                <a:solidFill>
                  <a:srgbClr val="377A6C"/>
                </a:solidFill>
                <a:effectLst/>
                <a:uLnTx/>
                <a:uFillTx/>
                <a:latin typeface="Arial"/>
                <a:ea typeface="+mn-ea"/>
                <a:cs typeface="+mn-cs"/>
              </a:rPr>
              <a:t>3289</a:t>
            </a:r>
            <a:endParaRPr kumimoji="0" sz="10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sz="1000" b="1">
                <a:solidFill>
                  <a:srgbClr val="377A6C"/>
                </a:solidFill>
              </a:defRPr>
            </a:pPr>
            <a:r>
              <a:rPr kumimoji="0" lang="nb-NO" sz="1000" b="1" i="0" u="none" strike="noStrike" kern="1200" cap="none" spc="0" normalizeH="0" baseline="0" noProof="0" dirty="0" err="1">
                <a:ln>
                  <a:noFill/>
                </a:ln>
                <a:solidFill>
                  <a:srgbClr val="377A6C"/>
                </a:solidFill>
                <a:effectLst/>
                <a:uLnTx/>
                <a:uFillTx/>
                <a:latin typeface="Arial"/>
                <a:ea typeface="+mn-ea"/>
                <a:cs typeface="+mn-cs"/>
              </a:rPr>
              <a:t>Domestic</a:t>
            </a:r>
            <a:r>
              <a:rPr kumimoji="0" lang="nb-NO" sz="1000" b="1" i="0" u="none" strike="noStrike" kern="1200" cap="none" spc="0" normalizeH="0" baseline="0" noProof="0" dirty="0">
                <a:ln>
                  <a:noFill/>
                </a:ln>
                <a:solidFill>
                  <a:srgbClr val="377A6C"/>
                </a:solidFill>
                <a:effectLst/>
                <a:uLnTx/>
                <a:uFillTx/>
                <a:latin typeface="Arial"/>
                <a:ea typeface="+mn-ea"/>
                <a:cs typeface="+mn-cs"/>
              </a:rPr>
              <a:t> </a:t>
            </a:r>
            <a:r>
              <a:rPr kumimoji="0" lang="nb-NO" sz="1000" b="1" i="0" u="none" strike="noStrike" kern="1200" cap="none" spc="0" normalizeH="0" baseline="0" noProof="0" dirty="0" err="1">
                <a:ln>
                  <a:noFill/>
                </a:ln>
                <a:solidFill>
                  <a:srgbClr val="377A6C"/>
                </a:solidFill>
                <a:effectLst/>
                <a:uLnTx/>
                <a:uFillTx/>
                <a:latin typeface="Arial"/>
                <a:ea typeface="+mn-ea"/>
                <a:cs typeface="+mn-cs"/>
              </a:rPr>
              <a:t>housing</a:t>
            </a:r>
            <a:r>
              <a:rPr kumimoji="0" sz="1000" b="1" i="0" u="none" strike="noStrike" kern="1200" cap="none" spc="0" normalizeH="0" baseline="0" noProof="0" dirty="0">
                <a:ln>
                  <a:noFill/>
                </a:ln>
                <a:solidFill>
                  <a:srgbClr val="377A6C"/>
                </a:solidFill>
                <a:effectLst/>
                <a:uLnTx/>
                <a:uFillTx/>
                <a:latin typeface="Arial"/>
                <a:ea typeface="+mn-ea"/>
                <a:cs typeface="+mn-cs"/>
              </a:rPr>
              <a:t> </a:t>
            </a:r>
          </a:p>
        </p:txBody>
      </p:sp>
      <p:sp>
        <p:nvSpPr>
          <p:cNvPr id="843" name="Shape 843"/>
          <p:cNvSpPr/>
          <p:nvPr/>
        </p:nvSpPr>
        <p:spPr>
          <a:xfrm>
            <a:off x="9683842" y="5140636"/>
            <a:ext cx="2178421" cy="21544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algn="ctr">
              <a:defRPr sz="1400" b="1">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FFFFFF"/>
                </a:solidFill>
                <a:effectLst/>
                <a:uLnTx/>
                <a:uFillTx/>
                <a:latin typeface="Arial"/>
                <a:ea typeface="+mn-ea"/>
                <a:cs typeface="+mn-cs"/>
              </a:rPr>
              <a:t>District </a:t>
            </a:r>
            <a:r>
              <a:rPr kumimoji="0" lang="nb-NO" sz="1400" b="1" i="0" u="none" strike="noStrike" kern="1200" cap="none" spc="0" normalizeH="0" baseline="0" noProof="0" dirty="0" err="1">
                <a:ln>
                  <a:noFill/>
                </a:ln>
                <a:solidFill>
                  <a:srgbClr val="FFFFFF"/>
                </a:solidFill>
                <a:effectLst/>
                <a:uLnTx/>
                <a:uFillTx/>
                <a:latin typeface="Arial"/>
                <a:ea typeface="+mn-ea"/>
                <a:cs typeface="+mn-cs"/>
              </a:rPr>
              <a:t>cooling</a:t>
            </a:r>
            <a:endParaRPr kumimoji="0"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844" name="Shape 844"/>
          <p:cNvSpPr/>
          <p:nvPr/>
        </p:nvSpPr>
        <p:spPr>
          <a:xfrm>
            <a:off x="6014898" y="4948424"/>
            <a:ext cx="2178421" cy="64633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a:solidFill>
                  <a:srgbClr val="FFFFFF"/>
                </a:solidFill>
              </a:defRPr>
            </a:pPr>
            <a:r>
              <a:rPr kumimoji="0" lang="nb-NO" sz="1400" b="1" i="0" u="none" strike="noStrike" kern="1200" cap="none" spc="0" normalizeH="0" baseline="0" noProof="0" dirty="0">
                <a:ln>
                  <a:noFill/>
                </a:ln>
                <a:solidFill>
                  <a:srgbClr val="FFFFFF"/>
                </a:solidFill>
                <a:effectLst/>
                <a:uLnTx/>
                <a:uFillTx/>
                <a:latin typeface="Arial"/>
                <a:ea typeface="+mn-ea"/>
                <a:cs typeface="+mn-cs"/>
              </a:rPr>
              <a:t>30 </a:t>
            </a:r>
            <a:r>
              <a:rPr kumimoji="0" lang="nb-NO" sz="1400" b="1" i="0" u="none" strike="noStrike" kern="1200" cap="none" spc="0" normalizeH="0" baseline="0" noProof="0" dirty="0" err="1">
                <a:ln>
                  <a:noFill/>
                </a:ln>
                <a:solidFill>
                  <a:srgbClr val="FFFFFF"/>
                </a:solidFill>
                <a:effectLst/>
                <a:uLnTx/>
                <a:uFillTx/>
                <a:latin typeface="Arial"/>
                <a:ea typeface="+mn-ea"/>
                <a:cs typeface="+mn-cs"/>
              </a:rPr>
              <a:t>mill</a:t>
            </a:r>
            <a:r>
              <a:rPr kumimoji="0" lang="nb-NO" sz="1400" b="1" i="0" u="none" strike="noStrike" kern="1200" cap="none" spc="0" normalizeH="0" baseline="0" noProof="0" dirty="0">
                <a:ln>
                  <a:noFill/>
                </a:ln>
                <a:solidFill>
                  <a:srgbClr val="FFFFFF"/>
                </a:solidFill>
                <a:effectLst/>
                <a:uLnTx/>
                <a:uFillTx/>
                <a:latin typeface="Arial"/>
                <a:ea typeface="+mn-ea"/>
                <a:cs typeface="+mn-cs"/>
              </a:rPr>
              <a:t> liters hot water </a:t>
            </a:r>
            <a:r>
              <a:rPr kumimoji="0" lang="nb-NO" sz="1400" b="1" i="0" u="none" strike="noStrike" kern="1200" cap="none" spc="0" normalizeH="0" baseline="0" noProof="0" dirty="0" err="1">
                <a:ln>
                  <a:noFill/>
                </a:ln>
                <a:solidFill>
                  <a:srgbClr val="FFFFFF"/>
                </a:solidFill>
                <a:effectLst/>
                <a:uLnTx/>
                <a:uFillTx/>
                <a:latin typeface="Arial"/>
                <a:ea typeface="+mn-ea"/>
                <a:cs typeface="+mn-cs"/>
              </a:rPr>
              <a:t>distributed</a:t>
            </a:r>
            <a:r>
              <a:rPr kumimoji="0" lang="nb-NO" sz="1400" b="1" i="0" u="none" strike="noStrike" kern="1200" cap="none" spc="0" normalizeH="0" baseline="0" noProof="0" dirty="0">
                <a:ln>
                  <a:noFill/>
                </a:ln>
                <a:solidFill>
                  <a:srgbClr val="FFFFFF"/>
                </a:solidFill>
                <a:effectLst/>
                <a:uLnTx/>
                <a:uFillTx/>
                <a:latin typeface="Arial"/>
                <a:ea typeface="+mn-ea"/>
                <a:cs typeface="+mn-cs"/>
              </a:rPr>
              <a:t> </a:t>
            </a:r>
            <a:r>
              <a:rPr kumimoji="0" lang="nb-NO" sz="1400" b="1" i="0" u="none" strike="noStrike" kern="1200" cap="none" spc="0" normalizeH="0" baseline="0" noProof="0" dirty="0" err="1">
                <a:ln>
                  <a:noFill/>
                </a:ln>
                <a:solidFill>
                  <a:srgbClr val="FFFFFF"/>
                </a:solidFill>
                <a:effectLst/>
                <a:uLnTx/>
                <a:uFillTx/>
                <a:latin typeface="Arial"/>
                <a:ea typeface="+mn-ea"/>
                <a:cs typeface="+mn-cs"/>
              </a:rPr>
              <a:t>throughout</a:t>
            </a:r>
            <a:r>
              <a:rPr kumimoji="0" lang="nb-NO" sz="1400" b="1" i="0" u="none" strike="noStrike" kern="1200" cap="none" spc="0" normalizeH="0" baseline="0" noProof="0" dirty="0">
                <a:ln>
                  <a:noFill/>
                </a:ln>
                <a:solidFill>
                  <a:srgbClr val="FFFFFF"/>
                </a:solidFill>
                <a:effectLst/>
                <a:uLnTx/>
                <a:uFillTx/>
                <a:latin typeface="Arial"/>
                <a:ea typeface="+mn-ea"/>
                <a:cs typeface="+mn-cs"/>
              </a:rPr>
              <a:t> Oslo</a:t>
            </a:r>
            <a:endParaRPr kumimoji="0"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845" name="Shape 845"/>
          <p:cNvSpPr/>
          <p:nvPr/>
        </p:nvSpPr>
        <p:spPr>
          <a:xfrm>
            <a:off x="3656232" y="5032914"/>
            <a:ext cx="1728193" cy="43088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algn="ctr">
              <a:defRPr sz="1400" b="1">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FFFFFF"/>
                </a:solidFill>
                <a:effectLst/>
                <a:uLnTx/>
                <a:uFillTx/>
                <a:latin typeface="Arial"/>
                <a:ea typeface="+mn-ea"/>
                <a:cs typeface="+mn-cs"/>
              </a:rPr>
              <a:t>600 km </a:t>
            </a:r>
            <a:r>
              <a:rPr kumimoji="0" lang="nb-NO" sz="1400" b="1" i="0" u="none" strike="noStrike" kern="1200" cap="none" spc="0" normalizeH="0" baseline="0" noProof="0" dirty="0" err="1">
                <a:ln>
                  <a:noFill/>
                </a:ln>
                <a:solidFill>
                  <a:srgbClr val="FFFFFF"/>
                </a:solidFill>
                <a:effectLst/>
                <a:uLnTx/>
                <a:uFillTx/>
                <a:latin typeface="Arial"/>
                <a:ea typeface="+mn-ea"/>
                <a:cs typeface="+mn-cs"/>
              </a:rPr>
              <a:t>district</a:t>
            </a:r>
            <a:r>
              <a:rPr kumimoji="0" lang="nb-NO" sz="1400" b="1" i="0" u="none" strike="noStrike" kern="1200" cap="none" spc="0" normalizeH="0" baseline="0" noProof="0" dirty="0">
                <a:ln>
                  <a:noFill/>
                </a:ln>
                <a:solidFill>
                  <a:srgbClr val="FFFFFF"/>
                </a:solidFill>
                <a:effectLst/>
                <a:uLnTx/>
                <a:uFillTx/>
                <a:latin typeface="Arial"/>
                <a:ea typeface="+mn-ea"/>
                <a:cs typeface="+mn-cs"/>
              </a:rPr>
              <a:t> </a:t>
            </a:r>
            <a:r>
              <a:rPr kumimoji="0" lang="nb-NO" sz="1400" b="1" i="0" u="none" strike="noStrike" kern="1200" cap="none" spc="0" normalizeH="0" baseline="0" noProof="0" dirty="0" err="1">
                <a:ln>
                  <a:noFill/>
                </a:ln>
                <a:solidFill>
                  <a:srgbClr val="FFFFFF"/>
                </a:solidFill>
                <a:effectLst/>
                <a:uLnTx/>
                <a:uFillTx/>
                <a:latin typeface="Arial"/>
                <a:ea typeface="+mn-ea"/>
                <a:cs typeface="+mn-cs"/>
              </a:rPr>
              <a:t>heating</a:t>
            </a:r>
            <a:r>
              <a:rPr kumimoji="0" lang="nb-NO" sz="1400" b="1" i="0" u="none" strike="noStrike" kern="1200" cap="none" spc="0" normalizeH="0" baseline="0" noProof="0" dirty="0">
                <a:ln>
                  <a:noFill/>
                </a:ln>
                <a:solidFill>
                  <a:srgbClr val="FFFFFF"/>
                </a:solidFill>
                <a:effectLst/>
                <a:uLnTx/>
                <a:uFillTx/>
                <a:latin typeface="Arial"/>
                <a:ea typeface="+mn-ea"/>
                <a:cs typeface="+mn-cs"/>
              </a:rPr>
              <a:t> </a:t>
            </a:r>
            <a:r>
              <a:rPr kumimoji="0" lang="nb-NO" sz="1400" b="1" i="0" u="none" strike="noStrike" kern="1200" cap="none" spc="0" normalizeH="0" baseline="0" noProof="0" dirty="0" err="1">
                <a:ln>
                  <a:noFill/>
                </a:ln>
                <a:solidFill>
                  <a:srgbClr val="FFFFFF"/>
                </a:solidFill>
                <a:effectLst/>
                <a:uLnTx/>
                <a:uFillTx/>
                <a:latin typeface="Arial"/>
                <a:ea typeface="+mn-ea"/>
                <a:cs typeface="+mn-cs"/>
              </a:rPr>
              <a:t>network</a:t>
            </a:r>
            <a:endParaRPr kumimoji="0"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846" name="Shape 846"/>
          <p:cNvSpPr/>
          <p:nvPr/>
        </p:nvSpPr>
        <p:spPr>
          <a:xfrm>
            <a:off x="7472715" y="1128407"/>
            <a:ext cx="1354891" cy="490746"/>
          </a:xfrm>
          <a:prstGeom prst="rect">
            <a:avLst/>
          </a:prstGeom>
          <a:ln w="12700">
            <a:miter lim="400000"/>
          </a:ln>
          <a:extLst>
            <a:ext uri="{C572A759-6A51-4108-AA02-DFA0A04FC94B}">
              <ma14:wrappingTextBoxFlag xmlns:ma14="http://schemas.microsoft.com/office/mac/drawingml/2011/main" xmlns="" val="1"/>
            </a:ext>
          </a:extLst>
        </p:spPr>
        <p:txBody>
          <a:bodyPr lIns="14400" tIns="14400" rIns="14400" bIns="1440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a:solidFill>
                  <a:srgbClr val="377A6C"/>
                </a:solidFill>
              </a:defRPr>
            </a:pPr>
            <a:r>
              <a:rPr kumimoji="0" lang="nb-NO" sz="2000" b="1" i="0" u="none" strike="noStrike" kern="1200" cap="none" spc="0" normalizeH="0" baseline="0" noProof="0" dirty="0">
                <a:ln>
                  <a:noFill/>
                </a:ln>
                <a:solidFill>
                  <a:srgbClr val="377A6C"/>
                </a:solidFill>
                <a:effectLst/>
                <a:uLnTx/>
                <a:uFillTx/>
                <a:latin typeface="Arial"/>
                <a:ea typeface="+mn-ea"/>
                <a:cs typeface="+mn-cs"/>
              </a:rPr>
              <a:t>1010</a:t>
            </a:r>
          </a:p>
          <a:p>
            <a:pPr marL="0" marR="0" lvl="0" indent="0" algn="ctr" defTabSz="914400" rtl="0" eaLnBrk="1" fontAlgn="auto" latinLnBrk="0" hangingPunct="1">
              <a:lnSpc>
                <a:spcPct val="100000"/>
              </a:lnSpc>
              <a:spcBef>
                <a:spcPts val="0"/>
              </a:spcBef>
              <a:spcAft>
                <a:spcPts val="0"/>
              </a:spcAft>
              <a:buClrTx/>
              <a:buSzTx/>
              <a:buFontTx/>
              <a:buNone/>
              <a:tabLst/>
              <a:defRPr sz="1000" b="1">
                <a:solidFill>
                  <a:srgbClr val="377A6C"/>
                </a:solidFill>
              </a:defRPr>
            </a:pPr>
            <a:r>
              <a:rPr kumimoji="0" lang="nb-NO" sz="1000" b="1" i="0" u="none" strike="noStrike" kern="1200" cap="none" spc="0" normalizeH="0" baseline="0" noProof="0" dirty="0" err="1">
                <a:ln>
                  <a:noFill/>
                </a:ln>
                <a:solidFill>
                  <a:srgbClr val="377A6C"/>
                </a:solidFill>
                <a:effectLst/>
                <a:uLnTx/>
                <a:uFillTx/>
                <a:latin typeface="Arial"/>
                <a:ea typeface="+mn-ea"/>
                <a:cs typeface="+mn-cs"/>
              </a:rPr>
              <a:t>apartment</a:t>
            </a:r>
            <a:r>
              <a:rPr kumimoji="0" lang="nb-NO" sz="1000" b="1" i="0" u="none" strike="noStrike" kern="1200" cap="none" spc="0" normalizeH="0" baseline="0" noProof="0" dirty="0">
                <a:ln>
                  <a:noFill/>
                </a:ln>
                <a:solidFill>
                  <a:srgbClr val="377A6C"/>
                </a:solidFill>
                <a:effectLst/>
                <a:uLnTx/>
                <a:uFillTx/>
                <a:latin typeface="Arial"/>
                <a:ea typeface="+mn-ea"/>
                <a:cs typeface="+mn-cs"/>
              </a:rPr>
              <a:t> </a:t>
            </a:r>
            <a:r>
              <a:rPr kumimoji="0" lang="nb-NO" sz="1000" b="1" i="0" u="none" strike="noStrike" kern="1200" cap="none" spc="0" normalizeH="0" baseline="0" noProof="0" dirty="0" err="1">
                <a:ln>
                  <a:noFill/>
                </a:ln>
                <a:solidFill>
                  <a:srgbClr val="377A6C"/>
                </a:solidFill>
                <a:effectLst/>
                <a:uLnTx/>
                <a:uFillTx/>
                <a:latin typeface="Arial"/>
                <a:ea typeface="+mn-ea"/>
                <a:cs typeface="+mn-cs"/>
              </a:rPr>
              <a:t>building</a:t>
            </a:r>
            <a:endParaRPr kumimoji="0" sz="1000" b="1" i="0" u="none" strike="noStrike" kern="1200" cap="none" spc="0" normalizeH="0" baseline="0" noProof="0" dirty="0">
              <a:ln>
                <a:noFill/>
              </a:ln>
              <a:solidFill>
                <a:srgbClr val="377A6C"/>
              </a:solidFill>
              <a:effectLst/>
              <a:uLnTx/>
              <a:uFillTx/>
              <a:latin typeface="Arial"/>
              <a:ea typeface="+mn-ea"/>
              <a:cs typeface="+mn-cs"/>
            </a:endParaRPr>
          </a:p>
        </p:txBody>
      </p:sp>
      <p:sp>
        <p:nvSpPr>
          <p:cNvPr id="847" name="Shape 847"/>
          <p:cNvSpPr/>
          <p:nvPr/>
        </p:nvSpPr>
        <p:spPr>
          <a:xfrm>
            <a:off x="8603175" y="1399578"/>
            <a:ext cx="1250561" cy="490746"/>
          </a:xfrm>
          <a:prstGeom prst="rect">
            <a:avLst/>
          </a:prstGeom>
          <a:ln w="12700">
            <a:miter lim="400000"/>
          </a:ln>
          <a:extLst>
            <a:ext uri="{C572A759-6A51-4108-AA02-DFA0A04FC94B}">
              <ma14:wrappingTextBoxFlag xmlns:ma14="http://schemas.microsoft.com/office/mac/drawingml/2011/main" xmlns="" val="1"/>
            </a:ext>
          </a:extLst>
        </p:spPr>
        <p:txBody>
          <a:bodyPr lIns="14400" tIns="14400" rIns="14400" bIns="1440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000" b="1">
                <a:solidFill>
                  <a:srgbClr val="377A6C"/>
                </a:solidFill>
              </a:defRPr>
            </a:pPr>
            <a:r>
              <a:rPr kumimoji="0" lang="nb-NO" sz="2000" b="1" i="0" u="none" strike="noStrike" kern="1200" cap="none" spc="0" normalizeH="0" baseline="0" noProof="0" dirty="0">
                <a:ln>
                  <a:noFill/>
                </a:ln>
                <a:solidFill>
                  <a:srgbClr val="377A6C"/>
                </a:solidFill>
                <a:effectLst/>
                <a:uLnTx/>
                <a:uFillTx/>
                <a:latin typeface="Arial"/>
                <a:ea typeface="+mn-ea"/>
                <a:cs typeface="+mn-cs"/>
              </a:rPr>
              <a:t>1168</a:t>
            </a:r>
            <a:endParaRPr kumimoji="0" sz="10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sz="1000" b="1">
                <a:solidFill>
                  <a:srgbClr val="377A6C"/>
                </a:solidFill>
              </a:defRPr>
            </a:pPr>
            <a:r>
              <a:rPr kumimoji="0" lang="nb-NO" sz="1000" b="1" i="0" u="none" strike="noStrike" kern="1200" cap="none" spc="0" normalizeH="0" baseline="0" noProof="0" dirty="0" err="1">
                <a:ln>
                  <a:noFill/>
                </a:ln>
                <a:solidFill>
                  <a:srgbClr val="377A6C"/>
                </a:solidFill>
                <a:effectLst/>
                <a:uLnTx/>
                <a:uFillTx/>
                <a:latin typeface="Arial"/>
                <a:ea typeface="+mn-ea"/>
                <a:cs typeface="+mn-cs"/>
              </a:rPr>
              <a:t>comercial</a:t>
            </a:r>
            <a:r>
              <a:rPr kumimoji="0" lang="nb-NO" sz="1000" b="1" i="0" u="none" strike="noStrike" kern="1200" cap="none" spc="0" normalizeH="0" baseline="0" noProof="0" dirty="0">
                <a:ln>
                  <a:noFill/>
                </a:ln>
                <a:solidFill>
                  <a:srgbClr val="377A6C"/>
                </a:solidFill>
                <a:effectLst/>
                <a:uLnTx/>
                <a:uFillTx/>
                <a:latin typeface="Arial"/>
                <a:ea typeface="+mn-ea"/>
                <a:cs typeface="+mn-cs"/>
              </a:rPr>
              <a:t> </a:t>
            </a:r>
            <a:r>
              <a:rPr kumimoji="0" lang="nb-NO" sz="1000" b="1" i="0" u="none" strike="noStrike" kern="1200" cap="none" spc="0" normalizeH="0" baseline="0" noProof="0" dirty="0" err="1">
                <a:ln>
                  <a:noFill/>
                </a:ln>
                <a:solidFill>
                  <a:srgbClr val="377A6C"/>
                </a:solidFill>
                <a:effectLst/>
                <a:uLnTx/>
                <a:uFillTx/>
                <a:latin typeface="Arial"/>
                <a:ea typeface="+mn-ea"/>
                <a:cs typeface="+mn-cs"/>
              </a:rPr>
              <a:t>building</a:t>
            </a:r>
            <a:endParaRPr kumimoji="0" sz="1000" b="1" i="0" u="none" strike="noStrike" kern="1200" cap="none" spc="0" normalizeH="0" baseline="0" noProof="0" dirty="0">
              <a:ln>
                <a:noFill/>
              </a:ln>
              <a:solidFill>
                <a:srgbClr val="377A6C"/>
              </a:solidFill>
              <a:effectLst/>
              <a:uLnTx/>
              <a:uFillTx/>
              <a:latin typeface="Arial"/>
              <a:ea typeface="+mn-ea"/>
              <a:cs typeface="+mn-cs"/>
            </a:endParaRPr>
          </a:p>
        </p:txBody>
      </p:sp>
      <p:sp>
        <p:nvSpPr>
          <p:cNvPr id="848" name="Shape 848"/>
          <p:cNvSpPr/>
          <p:nvPr/>
        </p:nvSpPr>
        <p:spPr>
          <a:xfrm>
            <a:off x="9602242" y="2120689"/>
            <a:ext cx="1250561" cy="336858"/>
          </a:xfrm>
          <a:prstGeom prst="rect">
            <a:avLst/>
          </a:prstGeom>
          <a:ln w="12700">
            <a:miter lim="400000"/>
          </a:ln>
          <a:extLst>
            <a:ext uri="{C572A759-6A51-4108-AA02-DFA0A04FC94B}">
              <ma14:wrappingTextBoxFlag xmlns:ma14="http://schemas.microsoft.com/office/mac/drawingml/2011/main" xmlns="" val="1"/>
            </a:ext>
          </a:extLst>
        </p:spPr>
        <p:txBody>
          <a:bodyPr lIns="14400" tIns="14400" rIns="14400" bIns="144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00" b="1">
                <a:solidFill>
                  <a:srgbClr val="377A6C"/>
                </a:solidFill>
              </a:defRPr>
            </a:pPr>
            <a:r>
              <a:rPr kumimoji="0" lang="nb-NO" sz="1000" b="1" i="0" u="none" strike="noStrike" kern="1200" cap="none" spc="0" normalizeH="0" baseline="0" noProof="0" dirty="0" err="1">
                <a:ln>
                  <a:noFill/>
                </a:ln>
                <a:solidFill>
                  <a:srgbClr val="377A6C"/>
                </a:solidFill>
                <a:effectLst/>
                <a:uLnTx/>
                <a:uFillTx/>
                <a:latin typeface="Arial"/>
                <a:ea typeface="+mn-ea"/>
                <a:cs typeface="+mn-cs"/>
              </a:rPr>
              <a:t>Distric</a:t>
            </a:r>
            <a:r>
              <a:rPr kumimoji="0" lang="nb-NO" sz="1000" b="1" i="0" u="none" strike="noStrike" kern="1200" cap="none" spc="0" normalizeH="0" baseline="0" noProof="0" dirty="0">
                <a:ln>
                  <a:noFill/>
                </a:ln>
                <a:solidFill>
                  <a:srgbClr val="377A6C"/>
                </a:solidFill>
                <a:effectLst/>
                <a:uLnTx/>
                <a:uFillTx/>
                <a:latin typeface="Arial"/>
                <a:ea typeface="+mn-ea"/>
                <a:cs typeface="+mn-cs"/>
              </a:rPr>
              <a:t> </a:t>
            </a:r>
            <a:r>
              <a:rPr kumimoji="0" lang="nb-NO" sz="1000" b="1" i="0" u="none" strike="noStrike" kern="1200" cap="none" spc="0" normalizeH="0" baseline="0" noProof="0" dirty="0" err="1">
                <a:ln>
                  <a:noFill/>
                </a:ln>
                <a:solidFill>
                  <a:srgbClr val="377A6C"/>
                </a:solidFill>
                <a:effectLst/>
                <a:uLnTx/>
                <a:uFillTx/>
                <a:latin typeface="Arial"/>
                <a:ea typeface="+mn-ea"/>
                <a:cs typeface="+mn-cs"/>
              </a:rPr>
              <a:t>heating</a:t>
            </a:r>
            <a:r>
              <a:rPr kumimoji="0" lang="nb-NO" sz="1000" b="1" i="0" u="none" strike="noStrike" kern="1200" cap="none" spc="0" normalizeH="0" baseline="0" noProof="0" dirty="0">
                <a:ln>
                  <a:noFill/>
                </a:ln>
                <a:solidFill>
                  <a:srgbClr val="377A6C"/>
                </a:solidFill>
                <a:effectLst/>
                <a:uLnTx/>
                <a:uFillTx/>
                <a:latin typeface="Arial"/>
                <a:ea typeface="+mn-ea"/>
                <a:cs typeface="+mn-cs"/>
              </a:rPr>
              <a:t>, </a:t>
            </a:r>
            <a:r>
              <a:rPr kumimoji="0" lang="nb-NO" sz="1000" b="1" i="0" u="none" strike="noStrike" kern="1200" cap="none" spc="0" normalizeH="0" baseline="0" noProof="0" dirty="0" err="1">
                <a:ln>
                  <a:noFill/>
                </a:ln>
                <a:solidFill>
                  <a:srgbClr val="377A6C"/>
                </a:solidFill>
                <a:effectLst/>
                <a:uLnTx/>
                <a:uFillTx/>
                <a:latin typeface="Arial"/>
                <a:ea typeface="+mn-ea"/>
                <a:cs typeface="+mn-cs"/>
              </a:rPr>
              <a:t>cruiseships</a:t>
            </a:r>
            <a:endParaRPr kumimoji="0" sz="1000" b="1" i="0" u="none" strike="noStrike" kern="1200" cap="none" spc="0" normalizeH="0" baseline="0" noProof="0" dirty="0">
              <a:ln>
                <a:noFill/>
              </a:ln>
              <a:solidFill>
                <a:srgbClr val="377A6C"/>
              </a:solidFill>
              <a:effectLst/>
              <a:uLnTx/>
              <a:uFillTx/>
              <a:latin typeface="Arial"/>
              <a:ea typeface="+mn-ea"/>
              <a:cs typeface="+mn-cs"/>
            </a:endParaRPr>
          </a:p>
        </p:txBody>
      </p:sp>
      <p:sp>
        <p:nvSpPr>
          <p:cNvPr id="849" name="Shape 849"/>
          <p:cNvSpPr/>
          <p:nvPr/>
        </p:nvSpPr>
        <p:spPr>
          <a:xfrm>
            <a:off x="1366710" y="2113471"/>
            <a:ext cx="1428945"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000" b="1">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000" b="1" i="0" u="none" strike="noStrike" kern="1200" cap="none" spc="0" normalizeH="0" baseline="0" noProof="0" dirty="0">
                <a:ln>
                  <a:noFill/>
                </a:ln>
                <a:solidFill>
                  <a:srgbClr val="FFFFFF"/>
                </a:solidFill>
                <a:effectLst/>
                <a:uLnTx/>
                <a:uFillTx/>
                <a:latin typeface="Arial"/>
                <a:ea typeface="+mn-ea"/>
                <a:cs typeface="+mn-cs"/>
              </a:rPr>
              <a:t>DATA</a:t>
            </a:r>
            <a:r>
              <a:rPr kumimoji="0" lang="nb-NO" sz="1000" b="1" i="0" u="none" strike="noStrike" kern="1200" cap="none" spc="0" normalizeH="0" baseline="0" noProof="0" dirty="0">
                <a:ln>
                  <a:noFill/>
                </a:ln>
                <a:solidFill>
                  <a:srgbClr val="FFFFFF"/>
                </a:solidFill>
                <a:effectLst/>
                <a:uLnTx/>
                <a:uFillTx/>
                <a:latin typeface="Arial"/>
                <a:ea typeface="+mn-ea"/>
                <a:cs typeface="+mn-cs"/>
              </a:rPr>
              <a:t>CENTER (2019)</a:t>
            </a:r>
            <a:endParaRPr kumimoji="0" sz="1000" b="1" i="0" u="none" strike="noStrike" kern="1200" cap="none" spc="0" normalizeH="0" baseline="0" noProof="0" dirty="0">
              <a:ln>
                <a:noFill/>
              </a:ln>
              <a:solidFill>
                <a:srgbClr val="FFFFFF"/>
              </a:solidFill>
              <a:effectLst/>
              <a:uLnTx/>
              <a:uFillTx/>
              <a:latin typeface="Arial"/>
              <a:ea typeface="+mn-ea"/>
              <a:cs typeface="+mn-cs"/>
            </a:endParaRPr>
          </a:p>
        </p:txBody>
      </p:sp>
      <p:pic>
        <p:nvPicPr>
          <p:cNvPr id="850" name="pasted-image.pdf"/>
          <p:cNvPicPr>
            <a:picLocks noChangeAspect="1"/>
          </p:cNvPicPr>
          <p:nvPr/>
        </p:nvPicPr>
        <p:blipFill>
          <a:blip r:embed="rId5"/>
          <a:stretch>
            <a:fillRect/>
          </a:stretch>
        </p:blipFill>
        <p:spPr>
          <a:xfrm>
            <a:off x="698253" y="796270"/>
            <a:ext cx="374200" cy="3279960"/>
          </a:xfrm>
          <a:prstGeom prst="rect">
            <a:avLst/>
          </a:prstGeom>
          <a:ln w="12700">
            <a:miter lim="400000"/>
          </a:ln>
        </p:spPr>
      </p:pic>
      <p:sp>
        <p:nvSpPr>
          <p:cNvPr id="25" name="Tittel 2">
            <a:extLst>
              <a:ext uri="{FF2B5EF4-FFF2-40B4-BE49-F238E27FC236}">
                <a16:creationId xmlns:a16="http://schemas.microsoft.com/office/drawing/2014/main" id="{299FE2F0-4F00-4F78-B85D-8B43ED8B6C71}"/>
              </a:ext>
            </a:extLst>
          </p:cNvPr>
          <p:cNvSpPr>
            <a:spLocks noGrp="1"/>
          </p:cNvSpPr>
          <p:nvPr>
            <p:ph type="title"/>
          </p:nvPr>
        </p:nvSpPr>
        <p:spPr>
          <a:xfrm>
            <a:off x="5217707" y="326527"/>
            <a:ext cx="5802594" cy="720502"/>
          </a:xfrm>
        </p:spPr>
        <p:txBody>
          <a:bodyPr/>
          <a:lstStyle/>
          <a:p>
            <a:r>
              <a:rPr lang="en-US" b="0" dirty="0"/>
              <a:t>Fortum Oslo Varme – City solution </a:t>
            </a:r>
            <a:endParaRPr lang="nb-NO" dirty="0">
              <a:solidFill>
                <a:srgbClr val="377A6C"/>
              </a:solidFill>
            </a:endParaRPr>
          </a:p>
        </p:txBody>
      </p:sp>
    </p:spTree>
    <p:extLst>
      <p:ext uri="{BB962C8B-B14F-4D97-AF65-F5344CB8AC3E}">
        <p14:creationId xmlns:p14="http://schemas.microsoft.com/office/powerpoint/2010/main" val="40120649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73A275-48F8-4D3A-88E1-EA20218D5C3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90E5A77-D385-4CDE-8FE8-D3E3CBE93E71}"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7D221721-5708-4726-B140-FA688ABA608A}"/>
              </a:ext>
            </a:extLst>
          </p:cNvPr>
          <p:cNvPicPr>
            <a:picLocks noChangeAspect="1"/>
          </p:cNvPicPr>
          <p:nvPr/>
        </p:nvPicPr>
        <p:blipFill>
          <a:blip r:embed="rId3"/>
          <a:stretch>
            <a:fillRect/>
          </a:stretch>
        </p:blipFill>
        <p:spPr>
          <a:xfrm>
            <a:off x="1025237" y="225631"/>
            <a:ext cx="10141526" cy="5496667"/>
          </a:xfrm>
          <a:prstGeom prst="rect">
            <a:avLst/>
          </a:prstGeom>
        </p:spPr>
      </p:pic>
      <p:sp>
        <p:nvSpPr>
          <p:cNvPr id="4" name="TextBox 3">
            <a:extLst>
              <a:ext uri="{FF2B5EF4-FFF2-40B4-BE49-F238E27FC236}">
                <a16:creationId xmlns:a16="http://schemas.microsoft.com/office/drawing/2014/main" id="{C9750A70-D80E-4E56-A69C-435720DE58E5}"/>
              </a:ext>
            </a:extLst>
          </p:cNvPr>
          <p:cNvSpPr txBox="1"/>
          <p:nvPr/>
        </p:nvSpPr>
        <p:spPr>
          <a:xfrm>
            <a:off x="839270" y="5617029"/>
            <a:ext cx="931413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srgbClr val="000000"/>
                </a:solidFill>
                <a:effectLst/>
                <a:uLnTx/>
                <a:uFillTx/>
                <a:latin typeface="Arial"/>
                <a:ea typeface="+mn-ea"/>
                <a:cs typeface="+mn-cs"/>
              </a:rPr>
              <a:t>Elements </a:t>
            </a:r>
            <a:r>
              <a:rPr kumimoji="0" lang="nb-NO" sz="2400" b="0" i="0" u="none" strike="noStrike" kern="1200" cap="none" spc="0" normalizeH="0" baseline="0" noProof="0" dirty="0" err="1">
                <a:ln>
                  <a:noFill/>
                </a:ln>
                <a:solidFill>
                  <a:srgbClr val="000000"/>
                </a:solidFill>
                <a:effectLst/>
                <a:uLnTx/>
                <a:uFillTx/>
                <a:latin typeface="Arial"/>
                <a:ea typeface="+mn-ea"/>
                <a:cs typeface="+mn-cs"/>
              </a:rPr>
              <a:t>of</a:t>
            </a:r>
            <a:r>
              <a:rPr kumimoji="0" lang="nb-NO" sz="2400" b="0" i="0" u="none" strike="noStrike" kern="1200" cap="none" spc="0" normalizeH="0" baseline="0" noProof="0" dirty="0">
                <a:ln>
                  <a:noFill/>
                </a:ln>
                <a:solidFill>
                  <a:srgbClr val="000000"/>
                </a:solidFill>
                <a:effectLst/>
                <a:uLnTx/>
                <a:uFillTx/>
                <a:latin typeface="Arial"/>
                <a:ea typeface="+mn-ea"/>
                <a:cs typeface="+mn-cs"/>
              </a:rPr>
              <a:t> </a:t>
            </a:r>
            <a:r>
              <a:rPr kumimoji="0" lang="nb-NO" sz="2400" b="0" i="0" u="none" strike="noStrike" kern="1200" cap="none" spc="0" normalizeH="0" baseline="0" noProof="0" dirty="0" err="1">
                <a:ln>
                  <a:noFill/>
                </a:ln>
                <a:solidFill>
                  <a:srgbClr val="000000"/>
                </a:solidFill>
                <a:effectLst/>
                <a:uLnTx/>
                <a:uFillTx/>
                <a:latin typeface="Arial"/>
                <a:ea typeface="+mn-ea"/>
                <a:cs typeface="+mn-cs"/>
              </a:rPr>
              <a:t>macro</a:t>
            </a:r>
            <a:r>
              <a:rPr kumimoji="0" lang="nb-NO" sz="2400" b="0" i="0" u="none" strike="noStrike" kern="1200" cap="none" spc="0" normalizeH="0" baseline="0" noProof="0" dirty="0">
                <a:ln>
                  <a:noFill/>
                </a:ln>
                <a:solidFill>
                  <a:srgbClr val="000000"/>
                </a:solidFill>
                <a:effectLst/>
                <a:uLnTx/>
                <a:uFillTx/>
                <a:latin typeface="Arial"/>
                <a:ea typeface="+mn-ea"/>
                <a:cs typeface="+mn-cs"/>
              </a:rPr>
              <a:t> and </a:t>
            </a:r>
            <a:r>
              <a:rPr kumimoji="0" lang="nb-NO" sz="2400" b="0" i="0" u="none" strike="noStrike" kern="1200" cap="none" spc="0" normalizeH="0" baseline="0" noProof="0" dirty="0" err="1">
                <a:ln>
                  <a:noFill/>
                </a:ln>
                <a:solidFill>
                  <a:srgbClr val="000000"/>
                </a:solidFill>
                <a:effectLst/>
                <a:uLnTx/>
                <a:uFillTx/>
                <a:latin typeface="Arial"/>
                <a:ea typeface="+mn-ea"/>
                <a:cs typeface="+mn-cs"/>
              </a:rPr>
              <a:t>micro</a:t>
            </a:r>
            <a:r>
              <a:rPr kumimoji="0" lang="nb-NO" sz="2400" b="0" i="0" u="none" strike="noStrike" kern="1200" cap="none" spc="0" normalizeH="0" baseline="0" noProof="0" dirty="0">
                <a:ln>
                  <a:noFill/>
                </a:ln>
                <a:solidFill>
                  <a:srgbClr val="000000"/>
                </a:solidFill>
                <a:effectLst/>
                <a:uLnTx/>
                <a:uFillTx/>
                <a:latin typeface="Arial"/>
                <a:ea typeface="+mn-ea"/>
                <a:cs typeface="+mn-cs"/>
              </a:rPr>
              <a:t> </a:t>
            </a:r>
            <a:r>
              <a:rPr kumimoji="0" lang="nb-NO" sz="2400" b="0" i="0" u="none" strike="noStrike" kern="1200" cap="none" spc="0" normalizeH="0" baseline="0" noProof="0" dirty="0" err="1">
                <a:ln>
                  <a:noFill/>
                </a:ln>
                <a:solidFill>
                  <a:srgbClr val="000000"/>
                </a:solidFill>
                <a:effectLst/>
                <a:uLnTx/>
                <a:uFillTx/>
                <a:latin typeface="Arial"/>
                <a:ea typeface="+mn-ea"/>
                <a:cs typeface="+mn-cs"/>
              </a:rPr>
              <a:t>energy</a:t>
            </a:r>
            <a:r>
              <a:rPr kumimoji="0" lang="nb-NO" sz="2400" b="0" i="0" u="none" strike="noStrike" kern="1200" cap="none" spc="0" normalizeH="0" baseline="0" noProof="0" dirty="0">
                <a:ln>
                  <a:noFill/>
                </a:ln>
                <a:solidFill>
                  <a:srgbClr val="000000"/>
                </a:solidFill>
                <a:effectLst/>
                <a:uLnTx/>
                <a:uFillTx/>
                <a:latin typeface="Arial"/>
                <a:ea typeface="+mn-ea"/>
                <a:cs typeface="+mn-cs"/>
              </a:rPr>
              <a:t> system </a:t>
            </a:r>
            <a:r>
              <a:rPr kumimoji="0" lang="nb-NO" sz="2400" b="0" i="0" u="none" strike="noStrike" kern="1200" cap="none" spc="0" normalizeH="0" baseline="0" noProof="0" dirty="0" err="1">
                <a:ln>
                  <a:noFill/>
                </a:ln>
                <a:solidFill>
                  <a:srgbClr val="000000"/>
                </a:solidFill>
                <a:effectLst/>
                <a:uLnTx/>
                <a:uFillTx/>
                <a:latin typeface="Arial"/>
                <a:ea typeface="+mn-ea"/>
                <a:cs typeface="+mn-cs"/>
              </a:rPr>
              <a:t>with</a:t>
            </a:r>
            <a:r>
              <a:rPr kumimoji="0" lang="nb-NO" sz="2400" b="0" i="0" u="none" strike="noStrike" kern="1200" cap="none" spc="0" normalizeH="0" baseline="0" noProof="0" dirty="0">
                <a:ln>
                  <a:noFill/>
                </a:ln>
                <a:solidFill>
                  <a:srgbClr val="000000"/>
                </a:solidFill>
                <a:effectLst/>
                <a:uLnTx/>
                <a:uFillTx/>
                <a:latin typeface="Arial"/>
                <a:ea typeface="+mn-ea"/>
                <a:cs typeface="+mn-cs"/>
              </a:rPr>
              <a:t> </a:t>
            </a:r>
            <a:r>
              <a:rPr kumimoji="0" lang="nb-NO" sz="2400" b="0" i="0" u="none" strike="noStrike" kern="1200" cap="none" spc="0" normalizeH="0" baseline="0" noProof="0" dirty="0" err="1">
                <a:ln>
                  <a:noFill/>
                </a:ln>
                <a:solidFill>
                  <a:srgbClr val="000000"/>
                </a:solidFill>
                <a:effectLst/>
                <a:uLnTx/>
                <a:uFillTx/>
                <a:latin typeface="Arial"/>
                <a:ea typeface="+mn-ea"/>
                <a:cs typeface="+mn-cs"/>
              </a:rPr>
              <a:t>exchange</a:t>
            </a:r>
            <a:r>
              <a:rPr kumimoji="0" lang="nb-NO" sz="2400" b="0" i="0" u="none" strike="noStrike" kern="1200" cap="none" spc="0" normalizeH="0" baseline="0" noProof="0" dirty="0">
                <a:ln>
                  <a:noFill/>
                </a:ln>
                <a:solidFill>
                  <a:srgbClr val="000000"/>
                </a:solidFill>
                <a:effectLst/>
                <a:uLnTx/>
                <a:uFillTx/>
                <a:latin typeface="Arial"/>
                <a:ea typeface="+mn-ea"/>
                <a:cs typeface="+mn-cs"/>
              </a:rPr>
              <a:t> </a:t>
            </a:r>
            <a:r>
              <a:rPr kumimoji="0" lang="nb-NO" sz="2400" b="0" i="0" u="none" strike="noStrike" kern="1200" cap="none" spc="0" normalizeH="0" baseline="0" noProof="0" dirty="0" err="1">
                <a:ln>
                  <a:noFill/>
                </a:ln>
                <a:solidFill>
                  <a:srgbClr val="000000"/>
                </a:solidFill>
                <a:effectLst/>
                <a:uLnTx/>
                <a:uFillTx/>
                <a:latin typeface="Arial"/>
                <a:ea typeface="+mn-ea"/>
                <a:cs typeface="+mn-cs"/>
              </a:rPr>
              <a:t>between</a:t>
            </a:r>
            <a:r>
              <a:rPr kumimoji="0" lang="nb-NO" sz="2400" b="0" i="0" u="none" strike="noStrike" kern="1200" cap="none" spc="0" normalizeH="0" baseline="0" noProof="0" dirty="0">
                <a:ln>
                  <a:noFill/>
                </a:ln>
                <a:solidFill>
                  <a:srgbClr val="000000"/>
                </a:solidFill>
                <a:effectLst/>
                <a:uLnTx/>
                <a:uFillTx/>
                <a:latin typeface="Arial"/>
                <a:ea typeface="+mn-ea"/>
                <a:cs typeface="+mn-cs"/>
              </a:rPr>
              <a:t> </a:t>
            </a:r>
            <a:r>
              <a:rPr kumimoji="0" lang="nb-NO" sz="2400" b="0" i="0" u="none" strike="noStrike" kern="1200" cap="none" spc="0" normalizeH="0" baseline="0" noProof="0" dirty="0" err="1">
                <a:ln>
                  <a:noFill/>
                </a:ln>
                <a:solidFill>
                  <a:srgbClr val="000000"/>
                </a:solidFill>
                <a:effectLst/>
                <a:uLnTx/>
                <a:uFillTx/>
                <a:latin typeface="Arial"/>
                <a:ea typeface="+mn-ea"/>
                <a:cs typeface="+mn-cs"/>
              </a:rPr>
              <a:t>them</a:t>
            </a:r>
            <a:r>
              <a:rPr kumimoji="0" lang="nb-NO" sz="2400" b="0" i="0" u="none" strike="noStrike" kern="1200" cap="none" spc="0" normalizeH="0" baseline="0" noProof="0" dirty="0">
                <a:ln>
                  <a:noFill/>
                </a:ln>
                <a:solidFill>
                  <a:srgbClr val="000000"/>
                </a:solidFill>
                <a:effectLst/>
                <a:uLnTx/>
                <a:uFillTx/>
                <a:latin typeface="Arial"/>
                <a:ea typeface="+mn-ea"/>
                <a:cs typeface="+mn-cs"/>
              </a:rPr>
              <a:t>. Source : The </a:t>
            </a:r>
            <a:r>
              <a:rPr kumimoji="0" lang="nb-NO" sz="2400" b="0" i="0" u="none" strike="noStrike" kern="1200" cap="none" spc="0" normalizeH="0" baseline="0" noProof="0" dirty="0" err="1">
                <a:ln>
                  <a:noFill/>
                </a:ln>
                <a:solidFill>
                  <a:srgbClr val="000000"/>
                </a:solidFill>
                <a:effectLst/>
                <a:uLnTx/>
                <a:uFillTx/>
                <a:latin typeface="Arial"/>
                <a:ea typeface="+mn-ea"/>
                <a:cs typeface="+mn-cs"/>
              </a:rPr>
              <a:t>cilmate</a:t>
            </a:r>
            <a:r>
              <a:rPr kumimoji="0" lang="nb-NO" sz="2400" b="0" i="0" u="none" strike="noStrike" kern="1200" cap="none" spc="0" normalizeH="0" baseline="0" noProof="0" dirty="0">
                <a:ln>
                  <a:noFill/>
                </a:ln>
                <a:solidFill>
                  <a:srgbClr val="000000"/>
                </a:solidFill>
                <a:effectLst/>
                <a:uLnTx/>
                <a:uFillTx/>
                <a:latin typeface="Arial"/>
                <a:ea typeface="+mn-ea"/>
                <a:cs typeface="+mn-cs"/>
              </a:rPr>
              <a:t> and </a:t>
            </a:r>
            <a:r>
              <a:rPr kumimoji="0" lang="nb-NO" sz="2400" b="0" i="0" u="none" strike="noStrike" kern="1200" cap="none" spc="0" normalizeH="0" baseline="0" noProof="0" dirty="0" err="1">
                <a:ln>
                  <a:noFill/>
                </a:ln>
                <a:solidFill>
                  <a:srgbClr val="000000"/>
                </a:solidFill>
                <a:effectLst/>
                <a:uLnTx/>
                <a:uFillTx/>
                <a:latin typeface="Arial"/>
                <a:ea typeface="+mn-ea"/>
                <a:cs typeface="+mn-cs"/>
              </a:rPr>
              <a:t>energy</a:t>
            </a:r>
            <a:r>
              <a:rPr kumimoji="0" lang="nb-NO" sz="2400" b="0" i="0" u="none" strike="noStrike" kern="1200" cap="none" spc="0" normalizeH="0" baseline="0" noProof="0" dirty="0">
                <a:ln>
                  <a:noFill/>
                </a:ln>
                <a:solidFill>
                  <a:srgbClr val="000000"/>
                </a:solidFill>
                <a:effectLst/>
                <a:uLnTx/>
                <a:uFillTx/>
                <a:latin typeface="Arial"/>
                <a:ea typeface="+mn-ea"/>
                <a:cs typeface="+mn-cs"/>
              </a:rPr>
              <a:t> </a:t>
            </a:r>
            <a:r>
              <a:rPr kumimoji="0" lang="nb-NO" sz="2400" b="0" i="0" u="none" strike="noStrike" kern="1200" cap="none" spc="0" normalizeH="0" baseline="0" noProof="0" dirty="0" err="1">
                <a:ln>
                  <a:noFill/>
                </a:ln>
                <a:solidFill>
                  <a:srgbClr val="000000"/>
                </a:solidFill>
                <a:effectLst/>
                <a:uLnTx/>
                <a:uFillTx/>
                <a:latin typeface="Arial"/>
                <a:ea typeface="+mn-ea"/>
                <a:cs typeface="+mn-cs"/>
              </a:rPr>
              <a:t>strategy</a:t>
            </a:r>
            <a:r>
              <a:rPr kumimoji="0" lang="nb-NO" sz="2400" b="0" i="0" u="none" strike="noStrike" kern="1200" cap="none" spc="0" normalizeH="0" baseline="0" noProof="0" dirty="0">
                <a:ln>
                  <a:noFill/>
                </a:ln>
                <a:solidFill>
                  <a:srgbClr val="000000"/>
                </a:solidFill>
                <a:effectLst/>
                <a:uLnTx/>
                <a:uFillTx/>
                <a:latin typeface="Arial"/>
                <a:ea typeface="+mn-ea"/>
                <a:cs typeface="+mn-cs"/>
              </a:rPr>
              <a:t> for Oslo</a:t>
            </a:r>
          </a:p>
        </p:txBody>
      </p:sp>
    </p:spTree>
    <p:extLst>
      <p:ext uri="{BB962C8B-B14F-4D97-AF65-F5344CB8AC3E}">
        <p14:creationId xmlns:p14="http://schemas.microsoft.com/office/powerpoint/2010/main" val="36722287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ssholder for innhold 5">
            <a:extLst>
              <a:ext uri="{FF2B5EF4-FFF2-40B4-BE49-F238E27FC236}">
                <a16:creationId xmlns:a16="http://schemas.microsoft.com/office/drawing/2014/main" id="{EF9BD0CF-5204-4961-A330-B040EFB6D6B9}"/>
              </a:ext>
            </a:extLst>
          </p:cNvPr>
          <p:cNvPicPr>
            <a:picLocks noGrp="1" noChangeAspect="1"/>
          </p:cNvPicPr>
          <p:nvPr>
            <p:ph idx="1"/>
          </p:nvPr>
        </p:nvPicPr>
        <p:blipFill>
          <a:blip r:embed="rId3"/>
          <a:stretch>
            <a:fillRect/>
          </a:stretch>
        </p:blipFill>
        <p:spPr>
          <a:xfrm>
            <a:off x="403566" y="1196752"/>
            <a:ext cx="11384868" cy="4954853"/>
          </a:xfrm>
          <a:prstGeom prst="rect">
            <a:avLst/>
          </a:prstGeom>
        </p:spPr>
      </p:pic>
      <p:sp>
        <p:nvSpPr>
          <p:cNvPr id="4" name="Plassholder for lysbildenummer 3">
            <a:extLst>
              <a:ext uri="{FF2B5EF4-FFF2-40B4-BE49-F238E27FC236}">
                <a16:creationId xmlns:a16="http://schemas.microsoft.com/office/drawing/2014/main" id="{27FCB388-22BE-4CDC-86D1-B4CB8A27257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90E5A77-D385-4CDE-8FE8-D3E3CBE93E71}"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7" name="Tittel 1">
            <a:extLst>
              <a:ext uri="{FF2B5EF4-FFF2-40B4-BE49-F238E27FC236}">
                <a16:creationId xmlns:a16="http://schemas.microsoft.com/office/drawing/2014/main" id="{324279AA-6514-47C4-8885-4D425B074268}"/>
              </a:ext>
            </a:extLst>
          </p:cNvPr>
          <p:cNvSpPr>
            <a:spLocks noGrp="1"/>
          </p:cNvSpPr>
          <p:nvPr>
            <p:ph type="title"/>
          </p:nvPr>
        </p:nvSpPr>
        <p:spPr>
          <a:xfrm>
            <a:off x="550864" y="476250"/>
            <a:ext cx="11090274" cy="720502"/>
          </a:xfrm>
        </p:spPr>
        <p:txBody>
          <a:bodyPr/>
          <a:lstStyle/>
          <a:p>
            <a:r>
              <a:rPr lang="nb-NO" dirty="0"/>
              <a:t>The work packages of Furuset micro energy system</a:t>
            </a:r>
          </a:p>
        </p:txBody>
      </p:sp>
    </p:spTree>
    <p:extLst>
      <p:ext uri="{BB962C8B-B14F-4D97-AF65-F5344CB8AC3E}">
        <p14:creationId xmlns:p14="http://schemas.microsoft.com/office/powerpoint/2010/main" val="28002733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n aerial view of a city&#10;&#10;Description generated with very high confidence">
            <a:extLst>
              <a:ext uri="{FF2B5EF4-FFF2-40B4-BE49-F238E27FC236}">
                <a16:creationId xmlns:a16="http://schemas.microsoft.com/office/drawing/2014/main" id="{217FEF8B-2182-482C-8252-4791974E1C4C}"/>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550863" y="2291708"/>
            <a:ext cx="5400675" cy="2993722"/>
          </a:xfrm>
        </p:spPr>
      </p:pic>
      <p:sp>
        <p:nvSpPr>
          <p:cNvPr id="4" name="Slide Number Placeholder 3">
            <a:extLst>
              <a:ext uri="{FF2B5EF4-FFF2-40B4-BE49-F238E27FC236}">
                <a16:creationId xmlns:a16="http://schemas.microsoft.com/office/drawing/2014/main" id="{F475F7E9-DFBA-479D-A23A-EBC824ED503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90E5A77-D385-4CDE-8FE8-D3E3CBE93E71}"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5" name="Title 4">
            <a:extLst>
              <a:ext uri="{FF2B5EF4-FFF2-40B4-BE49-F238E27FC236}">
                <a16:creationId xmlns:a16="http://schemas.microsoft.com/office/drawing/2014/main" id="{EFAE4BEE-C413-4160-83BC-B25BFB43D631}"/>
              </a:ext>
            </a:extLst>
          </p:cNvPr>
          <p:cNvSpPr>
            <a:spLocks noGrp="1"/>
          </p:cNvSpPr>
          <p:nvPr>
            <p:ph type="title"/>
          </p:nvPr>
        </p:nvSpPr>
        <p:spPr/>
        <p:txBody>
          <a:bodyPr/>
          <a:lstStyle/>
          <a:p>
            <a:r>
              <a:rPr lang="nb-NO" dirty="0"/>
              <a:t>Furuset  ̶  </a:t>
            </a:r>
            <a:r>
              <a:rPr lang="nb-NO" dirty="0" err="1"/>
              <a:t>Seasonal</a:t>
            </a:r>
            <a:r>
              <a:rPr lang="nb-NO" dirty="0"/>
              <a:t> </a:t>
            </a:r>
            <a:r>
              <a:rPr lang="nb-NO" dirty="0" err="1"/>
              <a:t>storage</a:t>
            </a:r>
            <a:r>
              <a:rPr lang="nb-NO" dirty="0"/>
              <a:t> and </a:t>
            </a:r>
            <a:r>
              <a:rPr lang="nb-NO" dirty="0" err="1"/>
              <a:t>micro</a:t>
            </a:r>
            <a:r>
              <a:rPr lang="nb-NO" dirty="0"/>
              <a:t> grid</a:t>
            </a:r>
          </a:p>
        </p:txBody>
      </p:sp>
      <p:graphicFrame>
        <p:nvGraphicFramePr>
          <p:cNvPr id="8" name="Diagram 23">
            <a:extLst>
              <a:ext uri="{FF2B5EF4-FFF2-40B4-BE49-F238E27FC236}">
                <a16:creationId xmlns:a16="http://schemas.microsoft.com/office/drawing/2014/main" id="{7DB1196B-B452-4EED-B5A1-B40DCC13A8E3}"/>
              </a:ext>
            </a:extLst>
          </p:cNvPr>
          <p:cNvGraphicFramePr>
            <a:graphicFrameLocks noGrp="1"/>
          </p:cNvGraphicFramePr>
          <p:nvPr>
            <p:ph sz="half" idx="2"/>
          </p:nvPr>
        </p:nvGraphicFramePr>
        <p:xfrm>
          <a:off x="6240463" y="1484313"/>
          <a:ext cx="5400675" cy="4608512"/>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AB426A96-ABDD-41F9-B0BE-87C692A08C79}"/>
              </a:ext>
            </a:extLst>
          </p:cNvPr>
          <p:cNvSpPr txBox="1"/>
          <p:nvPr/>
        </p:nvSpPr>
        <p:spPr>
          <a:xfrm>
            <a:off x="3352800" y="5524500"/>
            <a:ext cx="259873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lumMod val="65000"/>
                  </a:prstClr>
                </a:solidFill>
                <a:effectLst/>
                <a:uLnTx/>
                <a:uFillTx/>
                <a:latin typeface="Arial"/>
                <a:ea typeface="+mn-ea"/>
                <a:cs typeface="+mn-cs"/>
              </a:rPr>
              <a:t>Photo: </a:t>
            </a:r>
            <a:r>
              <a:rPr kumimoji="0" lang="nb-NO" sz="2000" b="0" i="0" u="none" strike="noStrike" kern="1200" cap="none" spc="0" normalizeH="0" baseline="0" noProof="0" dirty="0" err="1">
                <a:ln>
                  <a:noFill/>
                </a:ln>
                <a:solidFill>
                  <a:prstClr val="white">
                    <a:lumMod val="65000"/>
                  </a:prstClr>
                </a:solidFill>
                <a:effectLst/>
                <a:uLnTx/>
                <a:uFillTx/>
                <a:latin typeface="Arial"/>
                <a:ea typeface="+mn-ea"/>
                <a:cs typeface="+mn-cs"/>
              </a:rPr>
              <a:t>FutureBuilt</a:t>
            </a:r>
            <a:r>
              <a:rPr kumimoji="0" lang="nb-NO" sz="2000" b="0" i="0" u="none" strike="noStrike" kern="1200" cap="none" spc="0" normalizeH="0" baseline="0" noProof="0" dirty="0">
                <a:ln>
                  <a:noFill/>
                </a:ln>
                <a:solidFill>
                  <a:prstClr val="white">
                    <a:lumMod val="65000"/>
                  </a:prstClr>
                </a:solidFill>
                <a:effectLst/>
                <a:uLnTx/>
                <a:uFillTx/>
                <a:latin typeface="Arial"/>
                <a:ea typeface="+mn-ea"/>
                <a:cs typeface="+mn-cs"/>
              </a:rPr>
              <a:t> </a:t>
            </a:r>
          </a:p>
        </p:txBody>
      </p:sp>
    </p:spTree>
    <p:extLst>
      <p:ext uri="{BB962C8B-B14F-4D97-AF65-F5344CB8AC3E}">
        <p14:creationId xmlns:p14="http://schemas.microsoft.com/office/powerpoint/2010/main" val="34665199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31F81514-EE65-4F94-9935-578518E48889}"/>
              </a:ext>
            </a:extLst>
          </p:cNvPr>
          <p:cNvSpPr>
            <a:spLocks noGrp="1"/>
          </p:cNvSpPr>
          <p:nvPr>
            <p:ph sz="half" idx="1"/>
          </p:nvPr>
        </p:nvSpPr>
        <p:spPr>
          <a:xfrm>
            <a:off x="641268" y="1484313"/>
            <a:ext cx="5310719" cy="4608512"/>
          </a:xfrm>
        </p:spPr>
        <p:txBody>
          <a:bodyPr>
            <a:normAutofit fontScale="92500"/>
          </a:bodyPr>
          <a:lstStyle/>
          <a:p>
            <a:r>
              <a:rPr lang="en-US" dirty="0"/>
              <a:t>DigiPlex: 100% renewable energy since 2004</a:t>
            </a:r>
          </a:p>
          <a:p>
            <a:endParaRPr lang="en-US" dirty="0"/>
          </a:p>
          <a:p>
            <a:r>
              <a:rPr lang="en-US" dirty="0"/>
              <a:t>One of the greenest &amp; most energy efficient</a:t>
            </a:r>
          </a:p>
          <a:p>
            <a:endParaRPr lang="en-US" dirty="0"/>
          </a:p>
          <a:p>
            <a:r>
              <a:rPr lang="en-US" dirty="0"/>
              <a:t>District heating a great tool for moving energy From energy surplus -&gt; energy demand.</a:t>
            </a:r>
          </a:p>
          <a:p>
            <a:endParaRPr lang="en-US" dirty="0"/>
          </a:p>
          <a:p>
            <a:r>
              <a:rPr lang="en-US" dirty="0"/>
              <a:t>Excess heat no longer to be released into the atmosphere</a:t>
            </a:r>
          </a:p>
          <a:p>
            <a:endParaRPr lang="en-US" dirty="0"/>
          </a:p>
          <a:p>
            <a:r>
              <a:rPr lang="en-US" dirty="0"/>
              <a:t>Excess heat sent back to the consumer as district heating.</a:t>
            </a:r>
          </a:p>
          <a:p>
            <a:endParaRPr lang="en-US" dirty="0"/>
          </a:p>
          <a:p>
            <a:endParaRPr lang="en-US" dirty="0"/>
          </a:p>
          <a:p>
            <a:endParaRPr lang="nb-NO" dirty="0"/>
          </a:p>
        </p:txBody>
      </p:sp>
      <p:sp>
        <p:nvSpPr>
          <p:cNvPr id="4" name="Slide Number Placeholder 3">
            <a:extLst>
              <a:ext uri="{FF2B5EF4-FFF2-40B4-BE49-F238E27FC236}">
                <a16:creationId xmlns:a16="http://schemas.microsoft.com/office/drawing/2014/main" id="{FDD0FAD1-DC59-478B-821F-E805A476095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90E5A77-D385-4CDE-8FE8-D3E3CBE93E71}"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5" name="Title 4">
            <a:extLst>
              <a:ext uri="{FF2B5EF4-FFF2-40B4-BE49-F238E27FC236}">
                <a16:creationId xmlns:a16="http://schemas.microsoft.com/office/drawing/2014/main" id="{4BCD9706-344A-47E0-80AA-68A1DDDC693A}"/>
              </a:ext>
            </a:extLst>
          </p:cNvPr>
          <p:cNvSpPr>
            <a:spLocks noGrp="1"/>
          </p:cNvSpPr>
          <p:nvPr>
            <p:ph type="title"/>
          </p:nvPr>
        </p:nvSpPr>
        <p:spPr/>
        <p:txBody>
          <a:bodyPr/>
          <a:lstStyle/>
          <a:p>
            <a:r>
              <a:rPr lang="nb-NO" dirty="0"/>
              <a:t>The </a:t>
            </a:r>
            <a:r>
              <a:rPr lang="nb-NO" dirty="0" err="1"/>
              <a:t>new</a:t>
            </a:r>
            <a:r>
              <a:rPr lang="nb-NO" dirty="0"/>
              <a:t> </a:t>
            </a:r>
            <a:r>
              <a:rPr lang="nb-NO" dirty="0" err="1"/>
              <a:t>integrated</a:t>
            </a:r>
            <a:r>
              <a:rPr lang="nb-NO" dirty="0"/>
              <a:t> datasenter </a:t>
            </a:r>
            <a:r>
              <a:rPr lang="nb-NO" dirty="0" err="1"/>
              <a:t>gives</a:t>
            </a:r>
            <a:r>
              <a:rPr lang="nb-NO" dirty="0"/>
              <a:t> av </a:t>
            </a:r>
            <a:r>
              <a:rPr lang="nb-NO" dirty="0" err="1"/>
              <a:t>surplus</a:t>
            </a:r>
            <a:r>
              <a:rPr lang="nb-NO" dirty="0"/>
              <a:t> heat ≈ 5 000 Oslo </a:t>
            </a:r>
            <a:r>
              <a:rPr lang="nb-NO" dirty="0" err="1"/>
              <a:t>apartments</a:t>
            </a:r>
            <a:endParaRPr lang="nb-NO" dirty="0"/>
          </a:p>
        </p:txBody>
      </p:sp>
      <p:pic>
        <p:nvPicPr>
          <p:cNvPr id="10" name="Picture 9">
            <a:extLst>
              <a:ext uri="{FF2B5EF4-FFF2-40B4-BE49-F238E27FC236}">
                <a16:creationId xmlns:a16="http://schemas.microsoft.com/office/drawing/2014/main" id="{579440E9-438D-479F-BC8B-71E49E27E42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10254" y="1473028"/>
            <a:ext cx="2240477" cy="4619797"/>
          </a:xfrm>
          <a:prstGeom prst="rect">
            <a:avLst/>
          </a:prstGeom>
        </p:spPr>
      </p:pic>
      <p:pic>
        <p:nvPicPr>
          <p:cNvPr id="2" name="Picture 1">
            <a:extLst>
              <a:ext uri="{FF2B5EF4-FFF2-40B4-BE49-F238E27FC236}">
                <a16:creationId xmlns:a16="http://schemas.microsoft.com/office/drawing/2014/main" id="{3D840BC7-0613-473D-B476-195BFB4E97C0}"/>
              </a:ext>
            </a:extLst>
          </p:cNvPr>
          <p:cNvPicPr>
            <a:picLocks noChangeAspect="1"/>
          </p:cNvPicPr>
          <p:nvPr/>
        </p:nvPicPr>
        <p:blipFill>
          <a:blip r:embed="rId4"/>
          <a:stretch>
            <a:fillRect/>
          </a:stretch>
        </p:blipFill>
        <p:spPr>
          <a:xfrm>
            <a:off x="6551900" y="1448272"/>
            <a:ext cx="2449596" cy="4644553"/>
          </a:xfrm>
          <a:prstGeom prst="rect">
            <a:avLst/>
          </a:prstGeom>
        </p:spPr>
      </p:pic>
      <p:sp>
        <p:nvSpPr>
          <p:cNvPr id="3" name="Arrow: Right 2">
            <a:extLst>
              <a:ext uri="{FF2B5EF4-FFF2-40B4-BE49-F238E27FC236}">
                <a16:creationId xmlns:a16="http://schemas.microsoft.com/office/drawing/2014/main" id="{34495857-BCD7-4674-AF5B-1E4102B05411}"/>
              </a:ext>
            </a:extLst>
          </p:cNvPr>
          <p:cNvSpPr/>
          <p:nvPr/>
        </p:nvSpPr>
        <p:spPr>
          <a:xfrm>
            <a:off x="5884693" y="3359867"/>
            <a:ext cx="855024" cy="84611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8325005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02C7C44-5AB6-45D8-9EC2-BB5D7D5CFA3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90E5A77-D385-4CDE-8FE8-D3E3CBE93E71}"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3" name="Rectangle 2">
            <a:extLst>
              <a:ext uri="{FF2B5EF4-FFF2-40B4-BE49-F238E27FC236}">
                <a16:creationId xmlns:a16="http://schemas.microsoft.com/office/drawing/2014/main" id="{E23814FC-B94E-40FA-9C9C-C36D6A882BCA}"/>
              </a:ext>
            </a:extLst>
          </p:cNvPr>
          <p:cNvSpPr/>
          <p:nvPr/>
        </p:nvSpPr>
        <p:spPr>
          <a:xfrm>
            <a:off x="946067" y="1805049"/>
            <a:ext cx="5430981" cy="37856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We will install the wireless chargers at taxi stands, such as the one at the Oslo Central Station. Taxis will be able to drive up to the charger and a wireless charging session will automatically start. This allows the taxis to charge in a place where they would anyway be waiting for new customers. The difference is that they won’t be emitting exhaust while waiting, instead they will be receiving renewable energy to charge the taxi's battery," says </a:t>
            </a:r>
            <a:r>
              <a:rPr kumimoji="0" lang="en-US" sz="2000" b="1" i="0" u="none" strike="noStrike" kern="1200" cap="none" spc="0" normalizeH="0" baseline="0" noProof="0" dirty="0">
                <a:ln>
                  <a:noFill/>
                </a:ln>
                <a:solidFill>
                  <a:srgbClr val="000000"/>
                </a:solidFill>
                <a:effectLst/>
                <a:uLnTx/>
                <a:uFillTx/>
                <a:latin typeface="Arial"/>
                <a:ea typeface="+mn-ea"/>
                <a:cs typeface="+mn-cs"/>
              </a:rPr>
              <a:t>Annika Hoffner</a:t>
            </a:r>
            <a:r>
              <a:rPr kumimoji="0" lang="en-US" sz="2000" b="0" i="0" u="none" strike="noStrike" kern="1200" cap="none" spc="0" normalizeH="0" baseline="0" noProof="0" dirty="0">
                <a:ln>
                  <a:noFill/>
                </a:ln>
                <a:solidFill>
                  <a:srgbClr val="000000"/>
                </a:solidFill>
                <a:effectLst/>
                <a:uLnTx/>
                <a:uFillTx/>
                <a:latin typeface="Arial"/>
                <a:ea typeface="+mn-ea"/>
                <a:cs typeface="+mn-cs"/>
              </a:rPr>
              <a:t>, Head of Fortum Charge &amp; Drive.</a:t>
            </a:r>
            <a:endParaRPr kumimoji="0" lang="nb-NO" sz="2000" b="0" i="0" u="none" strike="noStrike" kern="1200" cap="none" spc="0" normalizeH="0" baseline="0" noProof="0" dirty="0">
              <a:ln>
                <a:noFill/>
              </a:ln>
              <a:solidFill>
                <a:srgbClr val="000000"/>
              </a:solidFill>
              <a:effectLst/>
              <a:uLnTx/>
              <a:uFillTx/>
              <a:latin typeface="Arial"/>
              <a:ea typeface="+mn-ea"/>
              <a:cs typeface="+mn-cs"/>
            </a:endParaRPr>
          </a:p>
        </p:txBody>
      </p:sp>
      <p:pic>
        <p:nvPicPr>
          <p:cNvPr id="4" name="Picture 3">
            <a:extLst>
              <a:ext uri="{FF2B5EF4-FFF2-40B4-BE49-F238E27FC236}">
                <a16:creationId xmlns:a16="http://schemas.microsoft.com/office/drawing/2014/main" id="{3D89EFB5-DF51-4718-A5A1-9EBF9403F7FE}"/>
              </a:ext>
            </a:extLst>
          </p:cNvPr>
          <p:cNvPicPr>
            <a:picLocks noChangeAspect="1"/>
          </p:cNvPicPr>
          <p:nvPr/>
        </p:nvPicPr>
        <p:blipFill>
          <a:blip r:embed="rId3"/>
          <a:stretch>
            <a:fillRect/>
          </a:stretch>
        </p:blipFill>
        <p:spPr>
          <a:xfrm>
            <a:off x="6681849" y="1925181"/>
            <a:ext cx="5015345" cy="4194896"/>
          </a:xfrm>
          <a:prstGeom prst="rect">
            <a:avLst/>
          </a:prstGeom>
        </p:spPr>
      </p:pic>
      <p:sp>
        <p:nvSpPr>
          <p:cNvPr id="5" name="Rectangle 4">
            <a:extLst>
              <a:ext uri="{FF2B5EF4-FFF2-40B4-BE49-F238E27FC236}">
                <a16:creationId xmlns:a16="http://schemas.microsoft.com/office/drawing/2014/main" id="{5ACBA3BD-5119-4A09-9E34-DFD5DA869DA4}"/>
              </a:ext>
            </a:extLst>
          </p:cNvPr>
          <p:cNvSpPr/>
          <p:nvPr/>
        </p:nvSpPr>
        <p:spPr>
          <a:xfrm>
            <a:off x="946067" y="532893"/>
            <a:ext cx="10644250"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rial"/>
                <a:ea typeface="+mn-ea"/>
                <a:cs typeface="+mn-cs"/>
              </a:rPr>
              <a:t>Fortum and the City of Oslo are working on the world's first wireless fast-charging infrastructure for taxis</a:t>
            </a:r>
            <a:endParaRPr kumimoji="0" lang="nb-NO" sz="2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165609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8.xml><?xml version="1.0" encoding="utf-8"?>
<p:tagLst xmlns:a="http://schemas.openxmlformats.org/drawingml/2006/main" xmlns:r="http://schemas.openxmlformats.org/officeDocument/2006/relationships" xmlns:p="http://schemas.openxmlformats.org/presentationml/2006/main">
  <p:tag name="EE4P_COPYRIGHT" val="1"/>
  <p:tag name="EE4P_MASTERWIZARD" val="Siemens_Confidentiality"/>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heme/theme1.xml><?xml version="1.0" encoding="utf-8"?>
<a:theme xmlns:a="http://schemas.openxmlformats.org/drawingml/2006/main" name="blank">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20000"/>
            <a:lumOff val="80000"/>
          </a:schemeClr>
        </a:solidFill>
        <a:ln>
          <a:noFill/>
        </a:ln>
        <a:effectLst/>
      </a:spPr>
      <a:bodyPr rot="0" spcFirstLastPara="0" vertOverflow="overflow" horzOverflow="overflow" vert="horz" wrap="square" lIns="0" tIns="0" rIns="0" bIns="0" numCol="1" spcCol="72000" rtlCol="0" fromWordArt="0" anchor="ctr" anchorCtr="0" forceAA="0" compatLnSpc="1">
        <a:prstTxWarp prst="textNoShape">
          <a:avLst/>
        </a:prstTxWarp>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2.xml><?xml version="1.0" encoding="utf-8"?>
<a:theme xmlns:a="http://schemas.openxmlformats.org/drawingml/2006/main" name="Turkis">
  <a:themeElements>
    <a:clrScheme name="Office-tema">
      <a:dk1>
        <a:srgbClr val="404942"/>
      </a:dk1>
      <a:lt1>
        <a:sysClr val="window" lastClr="FFFFFF"/>
      </a:lt1>
      <a:dk2>
        <a:srgbClr val="1EB6BF"/>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16_9.potx" id="{4033087C-B4A7-494D-A240-7AE17CF22E88}" vid="{ED2C993E-E5CE-48DE-AB43-D9100E241441}"/>
    </a:ext>
  </a:extLst>
</a:theme>
</file>

<file path=ppt/theme/theme3.xml><?xml version="1.0" encoding="utf-8"?>
<a:theme xmlns:a="http://schemas.openxmlformats.org/drawingml/2006/main" name="4_Turkis">
  <a:themeElements>
    <a:clrScheme name="Office-tema">
      <a:dk1>
        <a:srgbClr val="404942"/>
      </a:dk1>
      <a:lt1>
        <a:sysClr val="window" lastClr="FFFFFF"/>
      </a:lt1>
      <a:dk2>
        <a:srgbClr val="1EB6BF"/>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16_9.potx" id="{4033087C-B4A7-494D-A240-7AE17CF22E88}" vid="{ED2C993E-E5CE-48DE-AB43-D9100E241441}"/>
    </a:ext>
  </a:extLst>
</a:theme>
</file>

<file path=ppt/theme/theme4.xml><?xml version="1.0" encoding="utf-8"?>
<a:theme xmlns:a="http://schemas.openxmlformats.org/drawingml/2006/main" name="Fortum">
  <a:themeElements>
    <a:clrScheme name="fortum PPT 2017">
      <a:dk1>
        <a:srgbClr val="000000"/>
      </a:dk1>
      <a:lt1>
        <a:sysClr val="window" lastClr="FFFFFF"/>
      </a:lt1>
      <a:dk2>
        <a:srgbClr val="9BBDB6"/>
      </a:dk2>
      <a:lt2>
        <a:srgbClr val="B9B4AA"/>
      </a:lt2>
      <a:accent1>
        <a:srgbClr val="5AC37D"/>
      </a:accent1>
      <a:accent2>
        <a:srgbClr val="377A6C"/>
      </a:accent2>
      <a:accent3>
        <a:srgbClr val="78A0D4"/>
      </a:accent3>
      <a:accent4>
        <a:srgbClr val="003C79"/>
      </a:accent4>
      <a:accent5>
        <a:srgbClr val="F5E100"/>
      </a:accent5>
      <a:accent6>
        <a:srgbClr val="EB6437"/>
      </a:accent6>
      <a:hlink>
        <a:srgbClr val="5AC37D"/>
      </a:hlink>
      <a:folHlink>
        <a:srgbClr val="78A0D4"/>
      </a:folHlink>
    </a:clrScheme>
    <a:fontScheme name="fortu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err="1" smtClean="0"/>
        </a:defPPr>
      </a:lstStyle>
    </a:txDef>
  </a:objectDefaults>
  <a:extraClrSchemeLst/>
  <a:extLst>
    <a:ext uri="{05A4C25C-085E-4340-85A3-A5531E510DB2}">
      <thm15:themeFamily xmlns:thm15="http://schemas.microsoft.com/office/thememl/2012/main" name="Fortum_landscape_16_9.potx" id="{DA43B3B9-377C-4A40-AD2E-9EB3F30EEC7E}" vid="{B58D7CF0-B6EF-4076-925E-AACB00BA25A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4ppTags>
  <Name>Free Content</Name>
  <PpLayout>11</PpLayout>
  <Index>9</Index>
</p4ppTags>
</file>

<file path=customXml/item2.xml><?xml version="1.0" encoding="utf-8"?>
<p4ppTags>
  <Name>One object (small)</Name>
  <PpLayout>16</PpLayout>
  <Index>11</Index>
</p4ppTags>
</file>

<file path=customXml/item3.xml><?xml version="1.0" encoding="utf-8"?>
<p4ppTags>
  <Name>One object (small)</Name>
  <PpLayout>16</PpLayout>
  <Index>11</Index>
</p4ppTags>
</file>

<file path=customXml/itemProps1.xml><?xml version="1.0" encoding="utf-8"?>
<ds:datastoreItem xmlns:ds="http://schemas.openxmlformats.org/officeDocument/2006/customXml" ds:itemID="{47B154D3-D547-46A2-BA52-E48480D8E8AA}">
  <ds:schemaRefs/>
</ds:datastoreItem>
</file>

<file path=customXml/itemProps2.xml><?xml version="1.0" encoding="utf-8"?>
<ds:datastoreItem xmlns:ds="http://schemas.openxmlformats.org/officeDocument/2006/customXml" ds:itemID="{7ADB9D5A-E498-46E7-A069-E29E3F85B867}">
  <ds:schemaRefs/>
</ds:datastoreItem>
</file>

<file path=customXml/itemProps3.xml><?xml version="1.0" encoding="utf-8"?>
<ds:datastoreItem xmlns:ds="http://schemas.openxmlformats.org/officeDocument/2006/customXml" ds:itemID="{1618AA06-B22E-4D19-9680-0D7830426729}">
  <ds:schemaRefs/>
</ds:datastoreItem>
</file>

<file path=docProps/app.xml><?xml version="1.0" encoding="utf-8"?>
<Properties xmlns="http://schemas.openxmlformats.org/officeDocument/2006/extended-properties" xmlns:vt="http://schemas.openxmlformats.org/officeDocument/2006/docPropsVTypes">
  <TotalTime>1768</TotalTime>
  <Words>868</Words>
  <Application>Microsoft Macintosh PowerPoint</Application>
  <PresentationFormat>Widescreen</PresentationFormat>
  <Paragraphs>157</Paragraphs>
  <Slides>12</Slides>
  <Notes>12</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Wingdings</vt:lpstr>
      <vt:lpstr>blank</vt:lpstr>
      <vt:lpstr>Turkis</vt:lpstr>
      <vt:lpstr>4_Turkis</vt:lpstr>
      <vt:lpstr>Fortum</vt:lpstr>
      <vt:lpstr>think-cell Slide</vt:lpstr>
      <vt:lpstr>GrowSmarter –  Integrated solutions for smart cities/testing innovative models in Oslo    </vt:lpstr>
      <vt:lpstr>Fortum – for a cleaner world</vt:lpstr>
      <vt:lpstr>Fortum – Business in Norway</vt:lpstr>
      <vt:lpstr>Fortum Oslo Varme – City solution </vt:lpstr>
      <vt:lpstr>PowerPoint Presentation</vt:lpstr>
      <vt:lpstr>The work packages of Furuset micro energy system</vt:lpstr>
      <vt:lpstr>Furuset  ̶  Seasonal storage and micro grid</vt:lpstr>
      <vt:lpstr>The new integrated datasenter gives av surplus heat ≈ 5 000 Oslo apartments</vt:lpstr>
      <vt:lpstr>PowerPoint Presentation</vt:lpstr>
      <vt:lpstr>PowerPoint Presentation</vt:lpstr>
      <vt:lpstr>GrowSmarter –  Integrated solutions for smart cities/testing innovative models in Osl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ecilie Axelsen Baer</dc:creator>
  <cp:lastModifiedBy>LH Nærø</cp:lastModifiedBy>
  <cp:revision>14</cp:revision>
  <dcterms:created xsi:type="dcterms:W3CDTF">2019-01-08T08:05:36Z</dcterms:created>
  <dcterms:modified xsi:type="dcterms:W3CDTF">2019-05-29T07:10:56Z</dcterms:modified>
</cp:coreProperties>
</file>